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3.xml" ContentType="application/vnd.openxmlformats-officedocument.theme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4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5.xml" ContentType="application/vnd.openxmlformats-officedocument.theme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6.xml" ContentType="application/vnd.openxmlformats-officedocument.theme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7.xml" ContentType="application/vnd.openxmlformats-officedocument.theme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theme/theme8.xml" ContentType="application/vnd.openxmlformats-officedocument.theme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9.xml" ContentType="application/vnd.openxmlformats-officedocument.theme+xml"/>
  <Override PartName="/ppt/tags/tag2.xml" ContentType="application/vnd.openxmlformats-officedocument.presentationml.tags+xml"/>
  <Override PartName="/ppt/theme/theme10.xml" ContentType="application/vnd.openxmlformats-officedocument.theme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6" r:id="rId2"/>
    <p:sldMasterId id="2147483672" r:id="rId3"/>
    <p:sldMasterId id="2147483688" r:id="rId4"/>
    <p:sldMasterId id="2147483704" r:id="rId5"/>
    <p:sldMasterId id="2147483709" r:id="rId6"/>
    <p:sldMasterId id="2147483715" r:id="rId7"/>
    <p:sldMasterId id="2147483731" r:id="rId8"/>
    <p:sldMasterId id="2147483747" r:id="rId9"/>
  </p:sldMasterIdLst>
  <p:notesMasterIdLst>
    <p:notesMasterId r:id="rId11"/>
  </p:notesMasterIdLst>
  <p:sldIdLst>
    <p:sldId id="300" r:id="rId10"/>
  </p:sldIdLst>
  <p:sldSz cx="9144000" cy="6858000" type="screen4x3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E116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60" d="100"/>
          <a:sy n="60" d="100"/>
        </p:scale>
        <p:origin x="1602" y="6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Master" Target="slideMasters/slideMaster7.xml"/><Relationship Id="rId12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notesMaster" Target="notesMasters/notesMaster1.xml"/><Relationship Id="rId5" Type="http://schemas.openxmlformats.org/officeDocument/2006/relationships/slideMaster" Target="slideMasters/slideMaster5.xml"/><Relationship Id="rId15" Type="http://schemas.openxmlformats.org/officeDocument/2006/relationships/tableStyles" Target="tableStyles.xml"/><Relationship Id="rId10" Type="http://schemas.openxmlformats.org/officeDocument/2006/relationships/slide" Target="slides/slide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37840" cy="464820"/>
          </a:xfrm>
          <a:prstGeom prst="rect">
            <a:avLst/>
          </a:prstGeom>
        </p:spPr>
        <p:txBody>
          <a:bodyPr vert="horz" lIns="93172" tIns="46586" rIns="93172" bIns="46586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1"/>
            <a:ext cx="3037840" cy="464820"/>
          </a:xfrm>
          <a:prstGeom prst="rect">
            <a:avLst/>
          </a:prstGeom>
        </p:spPr>
        <p:txBody>
          <a:bodyPr vert="horz" lIns="93172" tIns="46586" rIns="93172" bIns="46586" rtlCol="0"/>
          <a:lstStyle>
            <a:lvl1pPr algn="r">
              <a:defRPr sz="1200"/>
            </a:lvl1pPr>
          </a:lstStyle>
          <a:p>
            <a:fld id="{D1C0D50E-1A15-4654-99DF-6C84A07B49D7}" type="datetimeFigureOut">
              <a:rPr lang="en-US" smtClean="0"/>
              <a:t>9/12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2688" y="698500"/>
            <a:ext cx="4645025" cy="34845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2" tIns="46586" rIns="93172" bIns="46586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3172" tIns="46586" rIns="93172" bIns="46586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2" tIns="46586" rIns="93172" bIns="46586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2" tIns="46586" rIns="93172" bIns="46586" rtlCol="0" anchor="b"/>
          <a:lstStyle>
            <a:lvl1pPr algn="r">
              <a:defRPr sz="1200"/>
            </a:lvl1pPr>
          </a:lstStyle>
          <a:p>
            <a:fld id="{9E509CA1-4EAE-4B46-9855-9C926C3D47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56106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7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8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9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13"/>
          <p:cNvSpPr>
            <a:spLocks/>
          </p:cNvSpPr>
          <p:nvPr userDrawn="1"/>
        </p:nvSpPr>
        <p:spPr bwMode="auto">
          <a:xfrm>
            <a:off x="228600" y="228600"/>
            <a:ext cx="8686800" cy="5943600"/>
          </a:xfrm>
          <a:custGeom>
            <a:avLst/>
            <a:gdLst>
              <a:gd name="T0" fmla="*/ 0 w 5376"/>
              <a:gd name="T1" fmla="*/ 0 h 3474"/>
              <a:gd name="T2" fmla="*/ 0 w 5376"/>
              <a:gd name="T3" fmla="*/ 2147483647 h 3474"/>
              <a:gd name="T4" fmla="*/ 2147483647 w 5376"/>
              <a:gd name="T5" fmla="*/ 2147483647 h 3474"/>
              <a:gd name="T6" fmla="*/ 2147483647 w 5376"/>
              <a:gd name="T7" fmla="*/ 2147483647 h 3474"/>
              <a:gd name="T8" fmla="*/ 2147483647 w 5376"/>
              <a:gd name="T9" fmla="*/ 2147483647 h 3474"/>
              <a:gd name="T10" fmla="*/ 2147483647 w 5376"/>
              <a:gd name="T11" fmla="*/ 2147483647 h 3474"/>
              <a:gd name="T12" fmla="*/ 2147483647 w 5376"/>
              <a:gd name="T13" fmla="*/ 0 h 3474"/>
              <a:gd name="T14" fmla="*/ 0 w 5376"/>
              <a:gd name="T15" fmla="*/ 0 h 3474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5376" h="3474">
                <a:moveTo>
                  <a:pt x="0" y="0"/>
                </a:moveTo>
                <a:lnTo>
                  <a:pt x="0" y="3474"/>
                </a:lnTo>
                <a:lnTo>
                  <a:pt x="941" y="3474"/>
                </a:lnTo>
                <a:lnTo>
                  <a:pt x="1081" y="3474"/>
                </a:lnTo>
                <a:lnTo>
                  <a:pt x="1210" y="3474"/>
                </a:lnTo>
                <a:lnTo>
                  <a:pt x="5376" y="3474"/>
                </a:lnTo>
                <a:lnTo>
                  <a:pt x="5376" y="0"/>
                </a:lnTo>
                <a:lnTo>
                  <a:pt x="0" y="0"/>
                </a:lnTo>
                <a:close/>
              </a:path>
            </a:pathLst>
          </a:custGeom>
          <a:solidFill>
            <a:srgbClr val="260F54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black"/>
              </a:solidFill>
              <a:cs typeface="Arial" pitchFamily="34" charset="0"/>
            </a:endParaRPr>
          </a:p>
        </p:txBody>
      </p:sp>
      <p:pic>
        <p:nvPicPr>
          <p:cNvPr id="5" name="Picture 14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5600" y="457200"/>
            <a:ext cx="1955800" cy="739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2" descr="long_powerstrips.gif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0" y="6324600"/>
            <a:ext cx="8686800" cy="403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46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04800" y="381000"/>
            <a:ext cx="8534400" cy="609600"/>
          </a:xfrm>
        </p:spPr>
        <p:txBody>
          <a:bodyPr/>
          <a:lstStyle>
            <a:lvl1pPr>
              <a:defRPr smtClean="0">
                <a:solidFill>
                  <a:srgbClr val="1D1160"/>
                </a:solidFill>
                <a:cs typeface="ＭＳ Ｐゴシック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946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04800" y="1066800"/>
            <a:ext cx="8534400" cy="457200"/>
          </a:xfrm>
        </p:spPr>
        <p:txBody>
          <a:bodyPr/>
          <a:lstStyle>
            <a:lvl1pPr marL="0" indent="0" algn="ctr">
              <a:buFont typeface="Wingdings" pitchFamily="2" charset="2"/>
              <a:buNone/>
              <a:defRPr smtClean="0">
                <a:cs typeface="ＭＳ Ｐゴシック"/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65981956"/>
      </p:ext>
    </p:extLst>
  </p:cSld>
  <p:clrMapOvr>
    <a:masterClrMapping/>
  </p:clrMapOvr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943578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914400"/>
            <a:ext cx="4038600" cy="5181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914400"/>
            <a:ext cx="4038600" cy="5181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7077982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4099132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9037460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7046279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170506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6430135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5786018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152400"/>
            <a:ext cx="2057400" cy="59436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52400"/>
            <a:ext cx="6019800" cy="59436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532217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>
          <a:xfrm>
            <a:off x="457200" y="152400"/>
            <a:ext cx="6096000" cy="6096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457200" y="914400"/>
            <a:ext cx="4038600" cy="2514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914400"/>
            <a:ext cx="4038600" cy="2514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57200" y="3581400"/>
            <a:ext cx="4038600" cy="2514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8200" y="3581400"/>
            <a:ext cx="4038600" cy="2514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8535459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4625851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" y="152400"/>
            <a:ext cx="6096000" cy="6096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57200" y="914400"/>
            <a:ext cx="8229600" cy="5181600"/>
          </a:xfrm>
        </p:spPr>
        <p:txBody>
          <a:bodyPr/>
          <a:lstStyle/>
          <a:p>
            <a:pPr lv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2414601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52400"/>
            <a:ext cx="6096000" cy="6096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57200" y="914400"/>
            <a:ext cx="4038600" cy="5181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914400"/>
            <a:ext cx="4038600" cy="5181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1088639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5"/>
          <p:cNvSpPr>
            <a:spLocks noChangeArrowheads="1"/>
          </p:cNvSpPr>
          <p:nvPr userDrawn="1"/>
        </p:nvSpPr>
        <p:spPr bwMode="auto">
          <a:xfrm>
            <a:off x="228600" y="228600"/>
            <a:ext cx="8686800" cy="5715000"/>
          </a:xfrm>
          <a:prstGeom prst="rect">
            <a:avLst/>
          </a:prstGeom>
          <a:solidFill>
            <a:srgbClr val="1D1757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 sz="2800" b="1">
                <a:solidFill>
                  <a:srgbClr val="0079C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800" b="1">
                <a:solidFill>
                  <a:srgbClr val="0079C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800" b="1">
                <a:solidFill>
                  <a:srgbClr val="0079C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800" b="1">
                <a:solidFill>
                  <a:srgbClr val="0079C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800" b="1">
                <a:solidFill>
                  <a:srgbClr val="0079C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9C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9C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9C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9C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srgbClr val="1D1757"/>
              </a:solidFill>
              <a:cs typeface="Arial" pitchFamily="34" charset="0"/>
            </a:endParaRPr>
          </a:p>
        </p:txBody>
      </p:sp>
      <p:pic>
        <p:nvPicPr>
          <p:cNvPr id="5" name="Picture 49" descr="PPT_bars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300" y="6057900"/>
            <a:ext cx="8915400" cy="612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9" descr="NG_HWHFY_PMS300"/>
          <p:cNvPicPr>
            <a:picLocks noChangeAspect="1" noChangeArrowheads="1"/>
          </p:cNvPicPr>
          <p:nvPr userDrawn="1"/>
        </p:nvPicPr>
        <p:blipFill>
          <a:blip r:embed="rId3" cstate="print">
            <a:lum bright="10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6575" y="609600"/>
            <a:ext cx="1724025" cy="512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3054" name="Rectangle 46"/>
          <p:cNvSpPr>
            <a:spLocks noGrp="1" noChangeArrowheads="1"/>
          </p:cNvSpPr>
          <p:nvPr>
            <p:ph type="ctrTitle" sz="quarter"/>
          </p:nvPr>
        </p:nvSpPr>
        <p:spPr>
          <a:xfrm>
            <a:off x="593725" y="1820863"/>
            <a:ext cx="7940675" cy="519112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43084" name="Rectangle 76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590550" y="5029200"/>
            <a:ext cx="7943850" cy="396875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marL="0" indent="0">
              <a:spcBef>
                <a:spcPct val="20000"/>
              </a:spcBef>
              <a:spcAft>
                <a:spcPct val="0"/>
              </a:spcAft>
              <a:buFont typeface="Wingdings" pitchFamily="2" charset="2"/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4816397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92960556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725414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1593086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914400"/>
            <a:ext cx="4038600" cy="5181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914400"/>
            <a:ext cx="4038600" cy="5181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8332703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4233811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7024740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145591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0222306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8966601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1841735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6679390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152400"/>
            <a:ext cx="2057400" cy="59436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52400"/>
            <a:ext cx="6019800" cy="59436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8452099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>
          <a:xfrm>
            <a:off x="457200" y="152400"/>
            <a:ext cx="6096000" cy="6096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457200" y="914400"/>
            <a:ext cx="4038600" cy="2514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914400"/>
            <a:ext cx="4038600" cy="2514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57200" y="3581400"/>
            <a:ext cx="4038600" cy="2514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8200" y="3581400"/>
            <a:ext cx="4038600" cy="2514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9641563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52400"/>
            <a:ext cx="6096000" cy="6096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57200" y="914400"/>
            <a:ext cx="8229600" cy="5181600"/>
          </a:xfrm>
        </p:spPr>
        <p:txBody>
          <a:bodyPr/>
          <a:lstStyle/>
          <a:p>
            <a:pPr lv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90392392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52400"/>
            <a:ext cx="6096000" cy="6096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57200" y="914400"/>
            <a:ext cx="4038600" cy="5181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914400"/>
            <a:ext cx="4038600" cy="5181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4418498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810375" y="6330040"/>
            <a:ext cx="2133600" cy="361950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16FB24A-D0AD-4126-B12D-5CD58FA771A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115777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89CF792-B968-40BF-9821-A2A847BB0FC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645058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E398191-1C5C-4FD4-BFD1-C63FC6D8D24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072114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52400"/>
            <a:ext cx="6096000" cy="6096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57200" y="914400"/>
            <a:ext cx="4038600" cy="5181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914400"/>
            <a:ext cx="4038600" cy="5181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7277434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">
    <p:bg>
      <p:bgPr>
        <a:solidFill>
          <a:srgbClr val="0079C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41" name="Freeform 33"/>
          <p:cNvSpPr>
            <a:spLocks/>
          </p:cNvSpPr>
          <p:nvPr/>
        </p:nvSpPr>
        <p:spPr bwMode="auto">
          <a:xfrm>
            <a:off x="2" y="0"/>
            <a:ext cx="9159875" cy="2400300"/>
          </a:xfrm>
          <a:custGeom>
            <a:avLst/>
            <a:gdLst>
              <a:gd name="T0" fmla="*/ 0 w 5760"/>
              <a:gd name="T1" fmla="*/ 0 h 1512"/>
              <a:gd name="T2" fmla="*/ 0 w 5760"/>
              <a:gd name="T3" fmla="*/ 1368 h 1512"/>
              <a:gd name="T4" fmla="*/ 1008 w 5760"/>
              <a:gd name="T5" fmla="*/ 1368 h 1512"/>
              <a:gd name="T6" fmla="*/ 1152 w 5760"/>
              <a:gd name="T7" fmla="*/ 1512 h 1512"/>
              <a:gd name="T8" fmla="*/ 1296 w 5760"/>
              <a:gd name="T9" fmla="*/ 1368 h 1512"/>
              <a:gd name="T10" fmla="*/ 5760 w 5760"/>
              <a:gd name="T11" fmla="*/ 1368 h 1512"/>
              <a:gd name="T12" fmla="*/ 5760 w 5760"/>
              <a:gd name="T13" fmla="*/ 0 h 1512"/>
              <a:gd name="T14" fmla="*/ 0 w 5760"/>
              <a:gd name="T15" fmla="*/ 0 h 1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760" h="1512">
                <a:moveTo>
                  <a:pt x="0" y="0"/>
                </a:moveTo>
                <a:lnTo>
                  <a:pt x="0" y="1368"/>
                </a:lnTo>
                <a:lnTo>
                  <a:pt x="1008" y="1368"/>
                </a:lnTo>
                <a:lnTo>
                  <a:pt x="1152" y="1512"/>
                </a:lnTo>
                <a:lnTo>
                  <a:pt x="1296" y="1368"/>
                </a:lnTo>
                <a:lnTo>
                  <a:pt x="5760" y="1368"/>
                </a:lnTo>
                <a:lnTo>
                  <a:pt x="576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800" b="1">
              <a:solidFill>
                <a:srgbClr val="0079C1"/>
              </a:solidFill>
            </a:endParaRPr>
          </a:p>
        </p:txBody>
      </p:sp>
      <p:sp>
        <p:nvSpPr>
          <p:cNvPr id="43022" name="Rectangle 14"/>
          <p:cNvSpPr>
            <a:spLocks noGrp="1" noChangeArrowheads="1"/>
          </p:cNvSpPr>
          <p:nvPr>
            <p:ph type="ctrTitle" sz="quarter"/>
          </p:nvPr>
        </p:nvSpPr>
        <p:spPr>
          <a:xfrm>
            <a:off x="593727" y="1337797"/>
            <a:ext cx="8043863" cy="523220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>
              <a:defRPr/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43023" name="Rectangle 15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571502" y="5164142"/>
            <a:ext cx="8043863" cy="503237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marL="0" indent="0">
              <a:spcBef>
                <a:spcPct val="20000"/>
              </a:spcBef>
              <a:spcAft>
                <a:spcPct val="0"/>
              </a:spcAft>
              <a:buFont typeface="Wingdings" pitchFamily="2" charset="2"/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sp>
        <p:nvSpPr>
          <p:cNvPr id="43044" name="Line 36"/>
          <p:cNvSpPr>
            <a:spLocks noChangeShapeType="1"/>
          </p:cNvSpPr>
          <p:nvPr/>
        </p:nvSpPr>
        <p:spPr bwMode="auto">
          <a:xfrm flipH="1" flipV="1">
            <a:off x="685800" y="2971800"/>
            <a:ext cx="457200" cy="34290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800" b="1">
              <a:solidFill>
                <a:srgbClr val="0079C1"/>
              </a:solidFill>
            </a:endParaRPr>
          </a:p>
        </p:txBody>
      </p:sp>
      <p:sp>
        <p:nvSpPr>
          <p:cNvPr id="43047" name="Line 39"/>
          <p:cNvSpPr>
            <a:spLocks noChangeShapeType="1"/>
          </p:cNvSpPr>
          <p:nvPr/>
        </p:nvSpPr>
        <p:spPr bwMode="auto">
          <a:xfrm>
            <a:off x="2400300" y="4343400"/>
            <a:ext cx="457200" cy="34290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800" b="1">
              <a:solidFill>
                <a:srgbClr val="0079C1"/>
              </a:solidFill>
            </a:endParaRPr>
          </a:p>
        </p:txBody>
      </p:sp>
      <p:sp>
        <p:nvSpPr>
          <p:cNvPr id="43048" name="Line 40"/>
          <p:cNvSpPr>
            <a:spLocks noChangeShapeType="1"/>
          </p:cNvSpPr>
          <p:nvPr/>
        </p:nvSpPr>
        <p:spPr bwMode="auto">
          <a:xfrm flipH="1">
            <a:off x="685800" y="4343400"/>
            <a:ext cx="457200" cy="34290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800" b="1">
              <a:solidFill>
                <a:srgbClr val="0079C1"/>
              </a:solidFill>
            </a:endParaRPr>
          </a:p>
        </p:txBody>
      </p:sp>
      <p:sp>
        <p:nvSpPr>
          <p:cNvPr id="43049" name="Line 41"/>
          <p:cNvSpPr>
            <a:spLocks noChangeShapeType="1"/>
          </p:cNvSpPr>
          <p:nvPr/>
        </p:nvSpPr>
        <p:spPr bwMode="auto">
          <a:xfrm flipV="1">
            <a:off x="2400300" y="2971800"/>
            <a:ext cx="457200" cy="34290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800" b="1">
              <a:solidFill>
                <a:srgbClr val="0079C1"/>
              </a:solidFill>
            </a:endParaRPr>
          </a:p>
        </p:txBody>
      </p:sp>
      <p:sp>
        <p:nvSpPr>
          <p:cNvPr id="9" name="Text Box 7"/>
          <p:cNvSpPr txBox="1">
            <a:spLocks noChangeArrowheads="1"/>
          </p:cNvSpPr>
          <p:nvPr/>
        </p:nvSpPr>
        <p:spPr bwMode="auto">
          <a:xfrm>
            <a:off x="1028702" y="3216279"/>
            <a:ext cx="1439863" cy="1252917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18000" tIns="10800" rIns="18000" bIns="1080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000" b="1">
                <a:solidFill>
                  <a:srgbClr val="000000"/>
                </a:solidFill>
              </a:rPr>
              <a:t>Place your chosen image here. The four corners must just cover the arrow tips. For covers, the three pictures should be the same size and in a straight line.   </a:t>
            </a:r>
            <a:endParaRPr lang="en-US" sz="2800" b="1">
              <a:solidFill>
                <a:srgbClr val="0079C1"/>
              </a:solidFill>
            </a:endParaRPr>
          </a:p>
        </p:txBody>
      </p:sp>
      <p:pic>
        <p:nvPicPr>
          <p:cNvPr id="43052" name="Picture 44" descr="National_Grid_logo_blue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0375" y="342900"/>
            <a:ext cx="1830388" cy="376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0465601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bg>
      <p:bgPr>
        <a:solidFill>
          <a:srgbClr val="1D175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03717" y="1447810"/>
            <a:ext cx="5976257" cy="1938992"/>
          </a:xfrm>
        </p:spPr>
        <p:txBody>
          <a:bodyPr wrap="square" anchor="b">
            <a:spAutoFit/>
          </a:bodyPr>
          <a:lstStyle>
            <a:lvl1pPr algn="l">
              <a:defRPr lang="en-US" sz="60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Title text goes her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3712" y="5130245"/>
            <a:ext cx="5662748" cy="584775"/>
          </a:xfrm>
        </p:spPr>
        <p:txBody>
          <a:bodyPr wrap="square" anchor="t">
            <a:spAutoFit/>
          </a:bodyPr>
          <a:lstStyle>
            <a:lvl1pPr marL="0" indent="0" algn="l">
              <a:buNone/>
              <a:defRPr lang="en-US" sz="3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-TITLE TEXT HERE</a:t>
            </a:r>
          </a:p>
        </p:txBody>
      </p:sp>
      <p:sp>
        <p:nvSpPr>
          <p:cNvPr id="13" name="Freeform 12"/>
          <p:cNvSpPr/>
          <p:nvPr userDrawn="1"/>
        </p:nvSpPr>
        <p:spPr>
          <a:xfrm>
            <a:off x="5" y="2240603"/>
            <a:ext cx="9149575" cy="2732590"/>
          </a:xfrm>
          <a:custGeom>
            <a:avLst/>
            <a:gdLst>
              <a:gd name="connsiteX0" fmla="*/ 0 w 9381893"/>
              <a:gd name="connsiteY0" fmla="*/ 1561170 h 2735765"/>
              <a:gd name="connsiteX1" fmla="*/ 4653776 w 9381893"/>
              <a:gd name="connsiteY1" fmla="*/ 1561170 h 2735765"/>
              <a:gd name="connsiteX2" fmla="*/ 4653776 w 9381893"/>
              <a:gd name="connsiteY2" fmla="*/ 2728331 h 2735765"/>
              <a:gd name="connsiteX3" fmla="*/ 6289288 w 9381893"/>
              <a:gd name="connsiteY3" fmla="*/ 2728331 h 2735765"/>
              <a:gd name="connsiteX4" fmla="*/ 6289288 w 9381893"/>
              <a:gd name="connsiteY4" fmla="*/ 1576039 h 2735765"/>
              <a:gd name="connsiteX5" fmla="*/ 6802244 w 9381893"/>
              <a:gd name="connsiteY5" fmla="*/ 1576039 h 2735765"/>
              <a:gd name="connsiteX6" fmla="*/ 6802244 w 9381893"/>
              <a:gd name="connsiteY6" fmla="*/ 2735765 h 2735765"/>
              <a:gd name="connsiteX7" fmla="*/ 7181386 w 9381893"/>
              <a:gd name="connsiteY7" fmla="*/ 2735765 h 2735765"/>
              <a:gd name="connsiteX8" fmla="*/ 7181386 w 9381893"/>
              <a:gd name="connsiteY8" fmla="*/ 0 h 2735765"/>
              <a:gd name="connsiteX9" fmla="*/ 7575396 w 9381893"/>
              <a:gd name="connsiteY9" fmla="*/ 0 h 2735765"/>
              <a:gd name="connsiteX10" fmla="*/ 7575396 w 9381893"/>
              <a:gd name="connsiteY10" fmla="*/ 973873 h 2735765"/>
              <a:gd name="connsiteX11" fmla="*/ 7672039 w 9381893"/>
              <a:gd name="connsiteY11" fmla="*/ 973873 h 2735765"/>
              <a:gd name="connsiteX12" fmla="*/ 7672039 w 9381893"/>
              <a:gd name="connsiteY12" fmla="*/ 1196897 h 2735765"/>
              <a:gd name="connsiteX13" fmla="*/ 7813288 w 9381893"/>
              <a:gd name="connsiteY13" fmla="*/ 1196897 h 2735765"/>
              <a:gd name="connsiteX14" fmla="*/ 7813288 w 9381893"/>
              <a:gd name="connsiteY14" fmla="*/ 14868 h 2735765"/>
              <a:gd name="connsiteX15" fmla="*/ 8303942 w 9381893"/>
              <a:gd name="connsiteY15" fmla="*/ 14868 h 2735765"/>
              <a:gd name="connsiteX16" fmla="*/ 8303942 w 9381893"/>
              <a:gd name="connsiteY16" fmla="*/ 713678 h 2735765"/>
              <a:gd name="connsiteX17" fmla="*/ 8653347 w 9381893"/>
              <a:gd name="connsiteY17" fmla="*/ 713678 h 2735765"/>
              <a:gd name="connsiteX18" fmla="*/ 8653347 w 9381893"/>
              <a:gd name="connsiteY18" fmla="*/ 817756 h 2735765"/>
              <a:gd name="connsiteX19" fmla="*/ 8712820 w 9381893"/>
              <a:gd name="connsiteY19" fmla="*/ 817756 h 2735765"/>
              <a:gd name="connsiteX20" fmla="*/ 8712820 w 9381893"/>
              <a:gd name="connsiteY20" fmla="*/ 1561170 h 2735765"/>
              <a:gd name="connsiteX21" fmla="*/ 9381893 w 9381893"/>
              <a:gd name="connsiteY21" fmla="*/ 1561170 h 2735765"/>
              <a:gd name="connsiteX0" fmla="*/ 0 w 9381893"/>
              <a:gd name="connsiteY0" fmla="*/ 1561170 h 2735765"/>
              <a:gd name="connsiteX1" fmla="*/ 4653776 w 9381893"/>
              <a:gd name="connsiteY1" fmla="*/ 1561170 h 2735765"/>
              <a:gd name="connsiteX2" fmla="*/ 4653776 w 9381893"/>
              <a:gd name="connsiteY2" fmla="*/ 2728331 h 2735765"/>
              <a:gd name="connsiteX3" fmla="*/ 6289288 w 9381893"/>
              <a:gd name="connsiteY3" fmla="*/ 2728331 h 2735765"/>
              <a:gd name="connsiteX4" fmla="*/ 6289288 w 9381893"/>
              <a:gd name="connsiteY4" fmla="*/ 1576039 h 2735765"/>
              <a:gd name="connsiteX5" fmla="*/ 6802244 w 9381893"/>
              <a:gd name="connsiteY5" fmla="*/ 1576039 h 2735765"/>
              <a:gd name="connsiteX6" fmla="*/ 6802244 w 9381893"/>
              <a:gd name="connsiteY6" fmla="*/ 2729415 h 2735765"/>
              <a:gd name="connsiteX7" fmla="*/ 7181386 w 9381893"/>
              <a:gd name="connsiteY7" fmla="*/ 2735765 h 2735765"/>
              <a:gd name="connsiteX8" fmla="*/ 7181386 w 9381893"/>
              <a:gd name="connsiteY8" fmla="*/ 0 h 2735765"/>
              <a:gd name="connsiteX9" fmla="*/ 7575396 w 9381893"/>
              <a:gd name="connsiteY9" fmla="*/ 0 h 2735765"/>
              <a:gd name="connsiteX10" fmla="*/ 7575396 w 9381893"/>
              <a:gd name="connsiteY10" fmla="*/ 973873 h 2735765"/>
              <a:gd name="connsiteX11" fmla="*/ 7672039 w 9381893"/>
              <a:gd name="connsiteY11" fmla="*/ 973873 h 2735765"/>
              <a:gd name="connsiteX12" fmla="*/ 7672039 w 9381893"/>
              <a:gd name="connsiteY12" fmla="*/ 1196897 h 2735765"/>
              <a:gd name="connsiteX13" fmla="*/ 7813288 w 9381893"/>
              <a:gd name="connsiteY13" fmla="*/ 1196897 h 2735765"/>
              <a:gd name="connsiteX14" fmla="*/ 7813288 w 9381893"/>
              <a:gd name="connsiteY14" fmla="*/ 14868 h 2735765"/>
              <a:gd name="connsiteX15" fmla="*/ 8303942 w 9381893"/>
              <a:gd name="connsiteY15" fmla="*/ 14868 h 2735765"/>
              <a:gd name="connsiteX16" fmla="*/ 8303942 w 9381893"/>
              <a:gd name="connsiteY16" fmla="*/ 713678 h 2735765"/>
              <a:gd name="connsiteX17" fmla="*/ 8653347 w 9381893"/>
              <a:gd name="connsiteY17" fmla="*/ 713678 h 2735765"/>
              <a:gd name="connsiteX18" fmla="*/ 8653347 w 9381893"/>
              <a:gd name="connsiteY18" fmla="*/ 817756 h 2735765"/>
              <a:gd name="connsiteX19" fmla="*/ 8712820 w 9381893"/>
              <a:gd name="connsiteY19" fmla="*/ 817756 h 2735765"/>
              <a:gd name="connsiteX20" fmla="*/ 8712820 w 9381893"/>
              <a:gd name="connsiteY20" fmla="*/ 1561170 h 2735765"/>
              <a:gd name="connsiteX21" fmla="*/ 9381893 w 9381893"/>
              <a:gd name="connsiteY21" fmla="*/ 1561170 h 2735765"/>
              <a:gd name="connsiteX0" fmla="*/ 0 w 9381893"/>
              <a:gd name="connsiteY0" fmla="*/ 1561170 h 2732590"/>
              <a:gd name="connsiteX1" fmla="*/ 4653776 w 9381893"/>
              <a:gd name="connsiteY1" fmla="*/ 1561170 h 2732590"/>
              <a:gd name="connsiteX2" fmla="*/ 4653776 w 9381893"/>
              <a:gd name="connsiteY2" fmla="*/ 2728331 h 2732590"/>
              <a:gd name="connsiteX3" fmla="*/ 6289288 w 9381893"/>
              <a:gd name="connsiteY3" fmla="*/ 2728331 h 2732590"/>
              <a:gd name="connsiteX4" fmla="*/ 6289288 w 9381893"/>
              <a:gd name="connsiteY4" fmla="*/ 1576039 h 2732590"/>
              <a:gd name="connsiteX5" fmla="*/ 6802244 w 9381893"/>
              <a:gd name="connsiteY5" fmla="*/ 1576039 h 2732590"/>
              <a:gd name="connsiteX6" fmla="*/ 6802244 w 9381893"/>
              <a:gd name="connsiteY6" fmla="*/ 2729415 h 2732590"/>
              <a:gd name="connsiteX7" fmla="*/ 7181386 w 9381893"/>
              <a:gd name="connsiteY7" fmla="*/ 2732590 h 2732590"/>
              <a:gd name="connsiteX8" fmla="*/ 7181386 w 9381893"/>
              <a:gd name="connsiteY8" fmla="*/ 0 h 2732590"/>
              <a:gd name="connsiteX9" fmla="*/ 7575396 w 9381893"/>
              <a:gd name="connsiteY9" fmla="*/ 0 h 2732590"/>
              <a:gd name="connsiteX10" fmla="*/ 7575396 w 9381893"/>
              <a:gd name="connsiteY10" fmla="*/ 973873 h 2732590"/>
              <a:gd name="connsiteX11" fmla="*/ 7672039 w 9381893"/>
              <a:gd name="connsiteY11" fmla="*/ 973873 h 2732590"/>
              <a:gd name="connsiteX12" fmla="*/ 7672039 w 9381893"/>
              <a:gd name="connsiteY12" fmla="*/ 1196897 h 2732590"/>
              <a:gd name="connsiteX13" fmla="*/ 7813288 w 9381893"/>
              <a:gd name="connsiteY13" fmla="*/ 1196897 h 2732590"/>
              <a:gd name="connsiteX14" fmla="*/ 7813288 w 9381893"/>
              <a:gd name="connsiteY14" fmla="*/ 14868 h 2732590"/>
              <a:gd name="connsiteX15" fmla="*/ 8303942 w 9381893"/>
              <a:gd name="connsiteY15" fmla="*/ 14868 h 2732590"/>
              <a:gd name="connsiteX16" fmla="*/ 8303942 w 9381893"/>
              <a:gd name="connsiteY16" fmla="*/ 713678 h 2732590"/>
              <a:gd name="connsiteX17" fmla="*/ 8653347 w 9381893"/>
              <a:gd name="connsiteY17" fmla="*/ 713678 h 2732590"/>
              <a:gd name="connsiteX18" fmla="*/ 8653347 w 9381893"/>
              <a:gd name="connsiteY18" fmla="*/ 817756 h 2732590"/>
              <a:gd name="connsiteX19" fmla="*/ 8712820 w 9381893"/>
              <a:gd name="connsiteY19" fmla="*/ 817756 h 2732590"/>
              <a:gd name="connsiteX20" fmla="*/ 8712820 w 9381893"/>
              <a:gd name="connsiteY20" fmla="*/ 1561170 h 2732590"/>
              <a:gd name="connsiteX21" fmla="*/ 9381893 w 9381893"/>
              <a:gd name="connsiteY21" fmla="*/ 1561170 h 2732590"/>
              <a:gd name="connsiteX0" fmla="*/ 0 w 9381893"/>
              <a:gd name="connsiteY0" fmla="*/ 1561170 h 2732590"/>
              <a:gd name="connsiteX1" fmla="*/ 4064182 w 9381893"/>
              <a:gd name="connsiteY1" fmla="*/ 1561170 h 2732590"/>
              <a:gd name="connsiteX2" fmla="*/ 4653776 w 9381893"/>
              <a:gd name="connsiteY2" fmla="*/ 2728331 h 2732590"/>
              <a:gd name="connsiteX3" fmla="*/ 6289288 w 9381893"/>
              <a:gd name="connsiteY3" fmla="*/ 2728331 h 2732590"/>
              <a:gd name="connsiteX4" fmla="*/ 6289288 w 9381893"/>
              <a:gd name="connsiteY4" fmla="*/ 1576039 h 2732590"/>
              <a:gd name="connsiteX5" fmla="*/ 6802244 w 9381893"/>
              <a:gd name="connsiteY5" fmla="*/ 1576039 h 2732590"/>
              <a:gd name="connsiteX6" fmla="*/ 6802244 w 9381893"/>
              <a:gd name="connsiteY6" fmla="*/ 2729415 h 2732590"/>
              <a:gd name="connsiteX7" fmla="*/ 7181386 w 9381893"/>
              <a:gd name="connsiteY7" fmla="*/ 2732590 h 2732590"/>
              <a:gd name="connsiteX8" fmla="*/ 7181386 w 9381893"/>
              <a:gd name="connsiteY8" fmla="*/ 0 h 2732590"/>
              <a:gd name="connsiteX9" fmla="*/ 7575396 w 9381893"/>
              <a:gd name="connsiteY9" fmla="*/ 0 h 2732590"/>
              <a:gd name="connsiteX10" fmla="*/ 7575396 w 9381893"/>
              <a:gd name="connsiteY10" fmla="*/ 973873 h 2732590"/>
              <a:gd name="connsiteX11" fmla="*/ 7672039 w 9381893"/>
              <a:gd name="connsiteY11" fmla="*/ 973873 h 2732590"/>
              <a:gd name="connsiteX12" fmla="*/ 7672039 w 9381893"/>
              <a:gd name="connsiteY12" fmla="*/ 1196897 h 2732590"/>
              <a:gd name="connsiteX13" fmla="*/ 7813288 w 9381893"/>
              <a:gd name="connsiteY13" fmla="*/ 1196897 h 2732590"/>
              <a:gd name="connsiteX14" fmla="*/ 7813288 w 9381893"/>
              <a:gd name="connsiteY14" fmla="*/ 14868 h 2732590"/>
              <a:gd name="connsiteX15" fmla="*/ 8303942 w 9381893"/>
              <a:gd name="connsiteY15" fmla="*/ 14868 h 2732590"/>
              <a:gd name="connsiteX16" fmla="*/ 8303942 w 9381893"/>
              <a:gd name="connsiteY16" fmla="*/ 713678 h 2732590"/>
              <a:gd name="connsiteX17" fmla="*/ 8653347 w 9381893"/>
              <a:gd name="connsiteY17" fmla="*/ 713678 h 2732590"/>
              <a:gd name="connsiteX18" fmla="*/ 8653347 w 9381893"/>
              <a:gd name="connsiteY18" fmla="*/ 817756 h 2732590"/>
              <a:gd name="connsiteX19" fmla="*/ 8712820 w 9381893"/>
              <a:gd name="connsiteY19" fmla="*/ 817756 h 2732590"/>
              <a:gd name="connsiteX20" fmla="*/ 8712820 w 9381893"/>
              <a:gd name="connsiteY20" fmla="*/ 1561170 h 2732590"/>
              <a:gd name="connsiteX21" fmla="*/ 9381893 w 9381893"/>
              <a:gd name="connsiteY21" fmla="*/ 1561170 h 2732590"/>
              <a:gd name="connsiteX0" fmla="*/ 0 w 9381893"/>
              <a:gd name="connsiteY0" fmla="*/ 1561170 h 2732590"/>
              <a:gd name="connsiteX1" fmla="*/ 4064182 w 9381893"/>
              <a:gd name="connsiteY1" fmla="*/ 1561170 h 2732590"/>
              <a:gd name="connsiteX2" fmla="*/ 4064182 w 9381893"/>
              <a:gd name="connsiteY2" fmla="*/ 2731861 h 2732590"/>
              <a:gd name="connsiteX3" fmla="*/ 6289288 w 9381893"/>
              <a:gd name="connsiteY3" fmla="*/ 2728331 h 2732590"/>
              <a:gd name="connsiteX4" fmla="*/ 6289288 w 9381893"/>
              <a:gd name="connsiteY4" fmla="*/ 1576039 h 2732590"/>
              <a:gd name="connsiteX5" fmla="*/ 6802244 w 9381893"/>
              <a:gd name="connsiteY5" fmla="*/ 1576039 h 2732590"/>
              <a:gd name="connsiteX6" fmla="*/ 6802244 w 9381893"/>
              <a:gd name="connsiteY6" fmla="*/ 2729415 h 2732590"/>
              <a:gd name="connsiteX7" fmla="*/ 7181386 w 9381893"/>
              <a:gd name="connsiteY7" fmla="*/ 2732590 h 2732590"/>
              <a:gd name="connsiteX8" fmla="*/ 7181386 w 9381893"/>
              <a:gd name="connsiteY8" fmla="*/ 0 h 2732590"/>
              <a:gd name="connsiteX9" fmla="*/ 7575396 w 9381893"/>
              <a:gd name="connsiteY9" fmla="*/ 0 h 2732590"/>
              <a:gd name="connsiteX10" fmla="*/ 7575396 w 9381893"/>
              <a:gd name="connsiteY10" fmla="*/ 973873 h 2732590"/>
              <a:gd name="connsiteX11" fmla="*/ 7672039 w 9381893"/>
              <a:gd name="connsiteY11" fmla="*/ 973873 h 2732590"/>
              <a:gd name="connsiteX12" fmla="*/ 7672039 w 9381893"/>
              <a:gd name="connsiteY12" fmla="*/ 1196897 h 2732590"/>
              <a:gd name="connsiteX13" fmla="*/ 7813288 w 9381893"/>
              <a:gd name="connsiteY13" fmla="*/ 1196897 h 2732590"/>
              <a:gd name="connsiteX14" fmla="*/ 7813288 w 9381893"/>
              <a:gd name="connsiteY14" fmla="*/ 14868 h 2732590"/>
              <a:gd name="connsiteX15" fmla="*/ 8303942 w 9381893"/>
              <a:gd name="connsiteY15" fmla="*/ 14868 h 2732590"/>
              <a:gd name="connsiteX16" fmla="*/ 8303942 w 9381893"/>
              <a:gd name="connsiteY16" fmla="*/ 713678 h 2732590"/>
              <a:gd name="connsiteX17" fmla="*/ 8653347 w 9381893"/>
              <a:gd name="connsiteY17" fmla="*/ 713678 h 2732590"/>
              <a:gd name="connsiteX18" fmla="*/ 8653347 w 9381893"/>
              <a:gd name="connsiteY18" fmla="*/ 817756 h 2732590"/>
              <a:gd name="connsiteX19" fmla="*/ 8712820 w 9381893"/>
              <a:gd name="connsiteY19" fmla="*/ 817756 h 2732590"/>
              <a:gd name="connsiteX20" fmla="*/ 8712820 w 9381893"/>
              <a:gd name="connsiteY20" fmla="*/ 1561170 h 2732590"/>
              <a:gd name="connsiteX21" fmla="*/ 9381893 w 9381893"/>
              <a:gd name="connsiteY21" fmla="*/ 1561170 h 2732590"/>
              <a:gd name="connsiteX0" fmla="*/ 0 w 9381893"/>
              <a:gd name="connsiteY0" fmla="*/ 1561170 h 2732590"/>
              <a:gd name="connsiteX1" fmla="*/ 4064182 w 9381893"/>
              <a:gd name="connsiteY1" fmla="*/ 1561170 h 2732590"/>
              <a:gd name="connsiteX2" fmla="*/ 4067713 w 9381893"/>
              <a:gd name="connsiteY2" fmla="*/ 2721270 h 2732590"/>
              <a:gd name="connsiteX3" fmla="*/ 6289288 w 9381893"/>
              <a:gd name="connsiteY3" fmla="*/ 2728331 h 2732590"/>
              <a:gd name="connsiteX4" fmla="*/ 6289288 w 9381893"/>
              <a:gd name="connsiteY4" fmla="*/ 1576039 h 2732590"/>
              <a:gd name="connsiteX5" fmla="*/ 6802244 w 9381893"/>
              <a:gd name="connsiteY5" fmla="*/ 1576039 h 2732590"/>
              <a:gd name="connsiteX6" fmla="*/ 6802244 w 9381893"/>
              <a:gd name="connsiteY6" fmla="*/ 2729415 h 2732590"/>
              <a:gd name="connsiteX7" fmla="*/ 7181386 w 9381893"/>
              <a:gd name="connsiteY7" fmla="*/ 2732590 h 2732590"/>
              <a:gd name="connsiteX8" fmla="*/ 7181386 w 9381893"/>
              <a:gd name="connsiteY8" fmla="*/ 0 h 2732590"/>
              <a:gd name="connsiteX9" fmla="*/ 7575396 w 9381893"/>
              <a:gd name="connsiteY9" fmla="*/ 0 h 2732590"/>
              <a:gd name="connsiteX10" fmla="*/ 7575396 w 9381893"/>
              <a:gd name="connsiteY10" fmla="*/ 973873 h 2732590"/>
              <a:gd name="connsiteX11" fmla="*/ 7672039 w 9381893"/>
              <a:gd name="connsiteY11" fmla="*/ 973873 h 2732590"/>
              <a:gd name="connsiteX12" fmla="*/ 7672039 w 9381893"/>
              <a:gd name="connsiteY12" fmla="*/ 1196897 h 2732590"/>
              <a:gd name="connsiteX13" fmla="*/ 7813288 w 9381893"/>
              <a:gd name="connsiteY13" fmla="*/ 1196897 h 2732590"/>
              <a:gd name="connsiteX14" fmla="*/ 7813288 w 9381893"/>
              <a:gd name="connsiteY14" fmla="*/ 14868 h 2732590"/>
              <a:gd name="connsiteX15" fmla="*/ 8303942 w 9381893"/>
              <a:gd name="connsiteY15" fmla="*/ 14868 h 2732590"/>
              <a:gd name="connsiteX16" fmla="*/ 8303942 w 9381893"/>
              <a:gd name="connsiteY16" fmla="*/ 713678 h 2732590"/>
              <a:gd name="connsiteX17" fmla="*/ 8653347 w 9381893"/>
              <a:gd name="connsiteY17" fmla="*/ 713678 h 2732590"/>
              <a:gd name="connsiteX18" fmla="*/ 8653347 w 9381893"/>
              <a:gd name="connsiteY18" fmla="*/ 817756 h 2732590"/>
              <a:gd name="connsiteX19" fmla="*/ 8712820 w 9381893"/>
              <a:gd name="connsiteY19" fmla="*/ 817756 h 2732590"/>
              <a:gd name="connsiteX20" fmla="*/ 8712820 w 9381893"/>
              <a:gd name="connsiteY20" fmla="*/ 1561170 h 2732590"/>
              <a:gd name="connsiteX21" fmla="*/ 9381893 w 9381893"/>
              <a:gd name="connsiteY21" fmla="*/ 1561170 h 2732590"/>
              <a:gd name="connsiteX0" fmla="*/ 0 w 9381893"/>
              <a:gd name="connsiteY0" fmla="*/ 1561170 h 2732590"/>
              <a:gd name="connsiteX1" fmla="*/ 4064182 w 9381893"/>
              <a:gd name="connsiteY1" fmla="*/ 1561170 h 2732590"/>
              <a:gd name="connsiteX2" fmla="*/ 4067713 w 9381893"/>
              <a:gd name="connsiteY2" fmla="*/ 2728331 h 2732590"/>
              <a:gd name="connsiteX3" fmla="*/ 6289288 w 9381893"/>
              <a:gd name="connsiteY3" fmla="*/ 2728331 h 2732590"/>
              <a:gd name="connsiteX4" fmla="*/ 6289288 w 9381893"/>
              <a:gd name="connsiteY4" fmla="*/ 1576039 h 2732590"/>
              <a:gd name="connsiteX5" fmla="*/ 6802244 w 9381893"/>
              <a:gd name="connsiteY5" fmla="*/ 1576039 h 2732590"/>
              <a:gd name="connsiteX6" fmla="*/ 6802244 w 9381893"/>
              <a:gd name="connsiteY6" fmla="*/ 2729415 h 2732590"/>
              <a:gd name="connsiteX7" fmla="*/ 7181386 w 9381893"/>
              <a:gd name="connsiteY7" fmla="*/ 2732590 h 2732590"/>
              <a:gd name="connsiteX8" fmla="*/ 7181386 w 9381893"/>
              <a:gd name="connsiteY8" fmla="*/ 0 h 2732590"/>
              <a:gd name="connsiteX9" fmla="*/ 7575396 w 9381893"/>
              <a:gd name="connsiteY9" fmla="*/ 0 h 2732590"/>
              <a:gd name="connsiteX10" fmla="*/ 7575396 w 9381893"/>
              <a:gd name="connsiteY10" fmla="*/ 973873 h 2732590"/>
              <a:gd name="connsiteX11" fmla="*/ 7672039 w 9381893"/>
              <a:gd name="connsiteY11" fmla="*/ 973873 h 2732590"/>
              <a:gd name="connsiteX12" fmla="*/ 7672039 w 9381893"/>
              <a:gd name="connsiteY12" fmla="*/ 1196897 h 2732590"/>
              <a:gd name="connsiteX13" fmla="*/ 7813288 w 9381893"/>
              <a:gd name="connsiteY13" fmla="*/ 1196897 h 2732590"/>
              <a:gd name="connsiteX14" fmla="*/ 7813288 w 9381893"/>
              <a:gd name="connsiteY14" fmla="*/ 14868 h 2732590"/>
              <a:gd name="connsiteX15" fmla="*/ 8303942 w 9381893"/>
              <a:gd name="connsiteY15" fmla="*/ 14868 h 2732590"/>
              <a:gd name="connsiteX16" fmla="*/ 8303942 w 9381893"/>
              <a:gd name="connsiteY16" fmla="*/ 713678 h 2732590"/>
              <a:gd name="connsiteX17" fmla="*/ 8653347 w 9381893"/>
              <a:gd name="connsiteY17" fmla="*/ 713678 h 2732590"/>
              <a:gd name="connsiteX18" fmla="*/ 8653347 w 9381893"/>
              <a:gd name="connsiteY18" fmla="*/ 817756 h 2732590"/>
              <a:gd name="connsiteX19" fmla="*/ 8712820 w 9381893"/>
              <a:gd name="connsiteY19" fmla="*/ 817756 h 2732590"/>
              <a:gd name="connsiteX20" fmla="*/ 8712820 w 9381893"/>
              <a:gd name="connsiteY20" fmla="*/ 1561170 h 2732590"/>
              <a:gd name="connsiteX21" fmla="*/ 9381893 w 9381893"/>
              <a:gd name="connsiteY21" fmla="*/ 1561170 h 2732590"/>
              <a:gd name="connsiteX0" fmla="*/ 0 w 9381893"/>
              <a:gd name="connsiteY0" fmla="*/ 1561170 h 2732590"/>
              <a:gd name="connsiteX1" fmla="*/ 4071243 w 9381893"/>
              <a:gd name="connsiteY1" fmla="*/ 1561170 h 2732590"/>
              <a:gd name="connsiteX2" fmla="*/ 4067713 w 9381893"/>
              <a:gd name="connsiteY2" fmla="*/ 2728331 h 2732590"/>
              <a:gd name="connsiteX3" fmla="*/ 6289288 w 9381893"/>
              <a:gd name="connsiteY3" fmla="*/ 2728331 h 2732590"/>
              <a:gd name="connsiteX4" fmla="*/ 6289288 w 9381893"/>
              <a:gd name="connsiteY4" fmla="*/ 1576039 h 2732590"/>
              <a:gd name="connsiteX5" fmla="*/ 6802244 w 9381893"/>
              <a:gd name="connsiteY5" fmla="*/ 1576039 h 2732590"/>
              <a:gd name="connsiteX6" fmla="*/ 6802244 w 9381893"/>
              <a:gd name="connsiteY6" fmla="*/ 2729415 h 2732590"/>
              <a:gd name="connsiteX7" fmla="*/ 7181386 w 9381893"/>
              <a:gd name="connsiteY7" fmla="*/ 2732590 h 2732590"/>
              <a:gd name="connsiteX8" fmla="*/ 7181386 w 9381893"/>
              <a:gd name="connsiteY8" fmla="*/ 0 h 2732590"/>
              <a:gd name="connsiteX9" fmla="*/ 7575396 w 9381893"/>
              <a:gd name="connsiteY9" fmla="*/ 0 h 2732590"/>
              <a:gd name="connsiteX10" fmla="*/ 7575396 w 9381893"/>
              <a:gd name="connsiteY10" fmla="*/ 973873 h 2732590"/>
              <a:gd name="connsiteX11" fmla="*/ 7672039 w 9381893"/>
              <a:gd name="connsiteY11" fmla="*/ 973873 h 2732590"/>
              <a:gd name="connsiteX12" fmla="*/ 7672039 w 9381893"/>
              <a:gd name="connsiteY12" fmla="*/ 1196897 h 2732590"/>
              <a:gd name="connsiteX13" fmla="*/ 7813288 w 9381893"/>
              <a:gd name="connsiteY13" fmla="*/ 1196897 h 2732590"/>
              <a:gd name="connsiteX14" fmla="*/ 7813288 w 9381893"/>
              <a:gd name="connsiteY14" fmla="*/ 14868 h 2732590"/>
              <a:gd name="connsiteX15" fmla="*/ 8303942 w 9381893"/>
              <a:gd name="connsiteY15" fmla="*/ 14868 h 2732590"/>
              <a:gd name="connsiteX16" fmla="*/ 8303942 w 9381893"/>
              <a:gd name="connsiteY16" fmla="*/ 713678 h 2732590"/>
              <a:gd name="connsiteX17" fmla="*/ 8653347 w 9381893"/>
              <a:gd name="connsiteY17" fmla="*/ 713678 h 2732590"/>
              <a:gd name="connsiteX18" fmla="*/ 8653347 w 9381893"/>
              <a:gd name="connsiteY18" fmla="*/ 817756 h 2732590"/>
              <a:gd name="connsiteX19" fmla="*/ 8712820 w 9381893"/>
              <a:gd name="connsiteY19" fmla="*/ 817756 h 2732590"/>
              <a:gd name="connsiteX20" fmla="*/ 8712820 w 9381893"/>
              <a:gd name="connsiteY20" fmla="*/ 1561170 h 2732590"/>
              <a:gd name="connsiteX21" fmla="*/ 9381893 w 9381893"/>
              <a:gd name="connsiteY21" fmla="*/ 1561170 h 2732590"/>
              <a:gd name="connsiteX0" fmla="*/ 0 w 9381893"/>
              <a:gd name="connsiteY0" fmla="*/ 1561170 h 2732590"/>
              <a:gd name="connsiteX1" fmla="*/ 4064182 w 9381893"/>
              <a:gd name="connsiteY1" fmla="*/ 1568231 h 2732590"/>
              <a:gd name="connsiteX2" fmla="*/ 4067713 w 9381893"/>
              <a:gd name="connsiteY2" fmla="*/ 2728331 h 2732590"/>
              <a:gd name="connsiteX3" fmla="*/ 6289288 w 9381893"/>
              <a:gd name="connsiteY3" fmla="*/ 2728331 h 2732590"/>
              <a:gd name="connsiteX4" fmla="*/ 6289288 w 9381893"/>
              <a:gd name="connsiteY4" fmla="*/ 1576039 h 2732590"/>
              <a:gd name="connsiteX5" fmla="*/ 6802244 w 9381893"/>
              <a:gd name="connsiteY5" fmla="*/ 1576039 h 2732590"/>
              <a:gd name="connsiteX6" fmla="*/ 6802244 w 9381893"/>
              <a:gd name="connsiteY6" fmla="*/ 2729415 h 2732590"/>
              <a:gd name="connsiteX7" fmla="*/ 7181386 w 9381893"/>
              <a:gd name="connsiteY7" fmla="*/ 2732590 h 2732590"/>
              <a:gd name="connsiteX8" fmla="*/ 7181386 w 9381893"/>
              <a:gd name="connsiteY8" fmla="*/ 0 h 2732590"/>
              <a:gd name="connsiteX9" fmla="*/ 7575396 w 9381893"/>
              <a:gd name="connsiteY9" fmla="*/ 0 h 2732590"/>
              <a:gd name="connsiteX10" fmla="*/ 7575396 w 9381893"/>
              <a:gd name="connsiteY10" fmla="*/ 973873 h 2732590"/>
              <a:gd name="connsiteX11" fmla="*/ 7672039 w 9381893"/>
              <a:gd name="connsiteY11" fmla="*/ 973873 h 2732590"/>
              <a:gd name="connsiteX12" fmla="*/ 7672039 w 9381893"/>
              <a:gd name="connsiteY12" fmla="*/ 1196897 h 2732590"/>
              <a:gd name="connsiteX13" fmla="*/ 7813288 w 9381893"/>
              <a:gd name="connsiteY13" fmla="*/ 1196897 h 2732590"/>
              <a:gd name="connsiteX14" fmla="*/ 7813288 w 9381893"/>
              <a:gd name="connsiteY14" fmla="*/ 14868 h 2732590"/>
              <a:gd name="connsiteX15" fmla="*/ 8303942 w 9381893"/>
              <a:gd name="connsiteY15" fmla="*/ 14868 h 2732590"/>
              <a:gd name="connsiteX16" fmla="*/ 8303942 w 9381893"/>
              <a:gd name="connsiteY16" fmla="*/ 713678 h 2732590"/>
              <a:gd name="connsiteX17" fmla="*/ 8653347 w 9381893"/>
              <a:gd name="connsiteY17" fmla="*/ 713678 h 2732590"/>
              <a:gd name="connsiteX18" fmla="*/ 8653347 w 9381893"/>
              <a:gd name="connsiteY18" fmla="*/ 817756 h 2732590"/>
              <a:gd name="connsiteX19" fmla="*/ 8712820 w 9381893"/>
              <a:gd name="connsiteY19" fmla="*/ 817756 h 2732590"/>
              <a:gd name="connsiteX20" fmla="*/ 8712820 w 9381893"/>
              <a:gd name="connsiteY20" fmla="*/ 1561170 h 2732590"/>
              <a:gd name="connsiteX21" fmla="*/ 9381893 w 9381893"/>
              <a:gd name="connsiteY21" fmla="*/ 1561170 h 2732590"/>
              <a:gd name="connsiteX0" fmla="*/ 0 w 9381893"/>
              <a:gd name="connsiteY0" fmla="*/ 1561170 h 2732590"/>
              <a:gd name="connsiteX1" fmla="*/ 4060652 w 9381893"/>
              <a:gd name="connsiteY1" fmla="*/ 1564701 h 2732590"/>
              <a:gd name="connsiteX2" fmla="*/ 4067713 w 9381893"/>
              <a:gd name="connsiteY2" fmla="*/ 2728331 h 2732590"/>
              <a:gd name="connsiteX3" fmla="*/ 6289288 w 9381893"/>
              <a:gd name="connsiteY3" fmla="*/ 2728331 h 2732590"/>
              <a:gd name="connsiteX4" fmla="*/ 6289288 w 9381893"/>
              <a:gd name="connsiteY4" fmla="*/ 1576039 h 2732590"/>
              <a:gd name="connsiteX5" fmla="*/ 6802244 w 9381893"/>
              <a:gd name="connsiteY5" fmla="*/ 1576039 h 2732590"/>
              <a:gd name="connsiteX6" fmla="*/ 6802244 w 9381893"/>
              <a:gd name="connsiteY6" fmla="*/ 2729415 h 2732590"/>
              <a:gd name="connsiteX7" fmla="*/ 7181386 w 9381893"/>
              <a:gd name="connsiteY7" fmla="*/ 2732590 h 2732590"/>
              <a:gd name="connsiteX8" fmla="*/ 7181386 w 9381893"/>
              <a:gd name="connsiteY8" fmla="*/ 0 h 2732590"/>
              <a:gd name="connsiteX9" fmla="*/ 7575396 w 9381893"/>
              <a:gd name="connsiteY9" fmla="*/ 0 h 2732590"/>
              <a:gd name="connsiteX10" fmla="*/ 7575396 w 9381893"/>
              <a:gd name="connsiteY10" fmla="*/ 973873 h 2732590"/>
              <a:gd name="connsiteX11" fmla="*/ 7672039 w 9381893"/>
              <a:gd name="connsiteY11" fmla="*/ 973873 h 2732590"/>
              <a:gd name="connsiteX12" fmla="*/ 7672039 w 9381893"/>
              <a:gd name="connsiteY12" fmla="*/ 1196897 h 2732590"/>
              <a:gd name="connsiteX13" fmla="*/ 7813288 w 9381893"/>
              <a:gd name="connsiteY13" fmla="*/ 1196897 h 2732590"/>
              <a:gd name="connsiteX14" fmla="*/ 7813288 w 9381893"/>
              <a:gd name="connsiteY14" fmla="*/ 14868 h 2732590"/>
              <a:gd name="connsiteX15" fmla="*/ 8303942 w 9381893"/>
              <a:gd name="connsiteY15" fmla="*/ 14868 h 2732590"/>
              <a:gd name="connsiteX16" fmla="*/ 8303942 w 9381893"/>
              <a:gd name="connsiteY16" fmla="*/ 713678 h 2732590"/>
              <a:gd name="connsiteX17" fmla="*/ 8653347 w 9381893"/>
              <a:gd name="connsiteY17" fmla="*/ 713678 h 2732590"/>
              <a:gd name="connsiteX18" fmla="*/ 8653347 w 9381893"/>
              <a:gd name="connsiteY18" fmla="*/ 817756 h 2732590"/>
              <a:gd name="connsiteX19" fmla="*/ 8712820 w 9381893"/>
              <a:gd name="connsiteY19" fmla="*/ 817756 h 2732590"/>
              <a:gd name="connsiteX20" fmla="*/ 8712820 w 9381893"/>
              <a:gd name="connsiteY20" fmla="*/ 1561170 h 2732590"/>
              <a:gd name="connsiteX21" fmla="*/ 9381893 w 9381893"/>
              <a:gd name="connsiteY21" fmla="*/ 1561170 h 2732590"/>
              <a:gd name="connsiteX0" fmla="*/ 0 w 9385424"/>
              <a:gd name="connsiteY0" fmla="*/ 1568231 h 2732590"/>
              <a:gd name="connsiteX1" fmla="*/ 4064183 w 9385424"/>
              <a:gd name="connsiteY1" fmla="*/ 1564701 h 2732590"/>
              <a:gd name="connsiteX2" fmla="*/ 4071244 w 9385424"/>
              <a:gd name="connsiteY2" fmla="*/ 2728331 h 2732590"/>
              <a:gd name="connsiteX3" fmla="*/ 6292819 w 9385424"/>
              <a:gd name="connsiteY3" fmla="*/ 2728331 h 2732590"/>
              <a:gd name="connsiteX4" fmla="*/ 6292819 w 9385424"/>
              <a:gd name="connsiteY4" fmla="*/ 1576039 h 2732590"/>
              <a:gd name="connsiteX5" fmla="*/ 6805775 w 9385424"/>
              <a:gd name="connsiteY5" fmla="*/ 1576039 h 2732590"/>
              <a:gd name="connsiteX6" fmla="*/ 6805775 w 9385424"/>
              <a:gd name="connsiteY6" fmla="*/ 2729415 h 2732590"/>
              <a:gd name="connsiteX7" fmla="*/ 7184917 w 9385424"/>
              <a:gd name="connsiteY7" fmla="*/ 2732590 h 2732590"/>
              <a:gd name="connsiteX8" fmla="*/ 7184917 w 9385424"/>
              <a:gd name="connsiteY8" fmla="*/ 0 h 2732590"/>
              <a:gd name="connsiteX9" fmla="*/ 7578927 w 9385424"/>
              <a:gd name="connsiteY9" fmla="*/ 0 h 2732590"/>
              <a:gd name="connsiteX10" fmla="*/ 7578927 w 9385424"/>
              <a:gd name="connsiteY10" fmla="*/ 973873 h 2732590"/>
              <a:gd name="connsiteX11" fmla="*/ 7675570 w 9385424"/>
              <a:gd name="connsiteY11" fmla="*/ 973873 h 2732590"/>
              <a:gd name="connsiteX12" fmla="*/ 7675570 w 9385424"/>
              <a:gd name="connsiteY12" fmla="*/ 1196897 h 2732590"/>
              <a:gd name="connsiteX13" fmla="*/ 7816819 w 9385424"/>
              <a:gd name="connsiteY13" fmla="*/ 1196897 h 2732590"/>
              <a:gd name="connsiteX14" fmla="*/ 7816819 w 9385424"/>
              <a:gd name="connsiteY14" fmla="*/ 14868 h 2732590"/>
              <a:gd name="connsiteX15" fmla="*/ 8307473 w 9385424"/>
              <a:gd name="connsiteY15" fmla="*/ 14868 h 2732590"/>
              <a:gd name="connsiteX16" fmla="*/ 8307473 w 9385424"/>
              <a:gd name="connsiteY16" fmla="*/ 713678 h 2732590"/>
              <a:gd name="connsiteX17" fmla="*/ 8656878 w 9385424"/>
              <a:gd name="connsiteY17" fmla="*/ 713678 h 2732590"/>
              <a:gd name="connsiteX18" fmla="*/ 8656878 w 9385424"/>
              <a:gd name="connsiteY18" fmla="*/ 817756 h 2732590"/>
              <a:gd name="connsiteX19" fmla="*/ 8716351 w 9385424"/>
              <a:gd name="connsiteY19" fmla="*/ 817756 h 2732590"/>
              <a:gd name="connsiteX20" fmla="*/ 8716351 w 9385424"/>
              <a:gd name="connsiteY20" fmla="*/ 1561170 h 2732590"/>
              <a:gd name="connsiteX21" fmla="*/ 9385424 w 9385424"/>
              <a:gd name="connsiteY21" fmla="*/ 1561170 h 2732590"/>
              <a:gd name="connsiteX0" fmla="*/ 0 w 9388955"/>
              <a:gd name="connsiteY0" fmla="*/ 1561170 h 2732590"/>
              <a:gd name="connsiteX1" fmla="*/ 4067714 w 9388955"/>
              <a:gd name="connsiteY1" fmla="*/ 1564701 h 2732590"/>
              <a:gd name="connsiteX2" fmla="*/ 4074775 w 9388955"/>
              <a:gd name="connsiteY2" fmla="*/ 2728331 h 2732590"/>
              <a:gd name="connsiteX3" fmla="*/ 6296350 w 9388955"/>
              <a:gd name="connsiteY3" fmla="*/ 2728331 h 2732590"/>
              <a:gd name="connsiteX4" fmla="*/ 6296350 w 9388955"/>
              <a:gd name="connsiteY4" fmla="*/ 1576039 h 2732590"/>
              <a:gd name="connsiteX5" fmla="*/ 6809306 w 9388955"/>
              <a:gd name="connsiteY5" fmla="*/ 1576039 h 2732590"/>
              <a:gd name="connsiteX6" fmla="*/ 6809306 w 9388955"/>
              <a:gd name="connsiteY6" fmla="*/ 2729415 h 2732590"/>
              <a:gd name="connsiteX7" fmla="*/ 7188448 w 9388955"/>
              <a:gd name="connsiteY7" fmla="*/ 2732590 h 2732590"/>
              <a:gd name="connsiteX8" fmla="*/ 7188448 w 9388955"/>
              <a:gd name="connsiteY8" fmla="*/ 0 h 2732590"/>
              <a:gd name="connsiteX9" fmla="*/ 7582458 w 9388955"/>
              <a:gd name="connsiteY9" fmla="*/ 0 h 2732590"/>
              <a:gd name="connsiteX10" fmla="*/ 7582458 w 9388955"/>
              <a:gd name="connsiteY10" fmla="*/ 973873 h 2732590"/>
              <a:gd name="connsiteX11" fmla="*/ 7679101 w 9388955"/>
              <a:gd name="connsiteY11" fmla="*/ 973873 h 2732590"/>
              <a:gd name="connsiteX12" fmla="*/ 7679101 w 9388955"/>
              <a:gd name="connsiteY12" fmla="*/ 1196897 h 2732590"/>
              <a:gd name="connsiteX13" fmla="*/ 7820350 w 9388955"/>
              <a:gd name="connsiteY13" fmla="*/ 1196897 h 2732590"/>
              <a:gd name="connsiteX14" fmla="*/ 7820350 w 9388955"/>
              <a:gd name="connsiteY14" fmla="*/ 14868 h 2732590"/>
              <a:gd name="connsiteX15" fmla="*/ 8311004 w 9388955"/>
              <a:gd name="connsiteY15" fmla="*/ 14868 h 2732590"/>
              <a:gd name="connsiteX16" fmla="*/ 8311004 w 9388955"/>
              <a:gd name="connsiteY16" fmla="*/ 713678 h 2732590"/>
              <a:gd name="connsiteX17" fmla="*/ 8660409 w 9388955"/>
              <a:gd name="connsiteY17" fmla="*/ 713678 h 2732590"/>
              <a:gd name="connsiteX18" fmla="*/ 8660409 w 9388955"/>
              <a:gd name="connsiteY18" fmla="*/ 817756 h 2732590"/>
              <a:gd name="connsiteX19" fmla="*/ 8719882 w 9388955"/>
              <a:gd name="connsiteY19" fmla="*/ 817756 h 2732590"/>
              <a:gd name="connsiteX20" fmla="*/ 8719882 w 9388955"/>
              <a:gd name="connsiteY20" fmla="*/ 1561170 h 2732590"/>
              <a:gd name="connsiteX21" fmla="*/ 9388955 w 9388955"/>
              <a:gd name="connsiteY21" fmla="*/ 1561170 h 2732590"/>
              <a:gd name="connsiteX0" fmla="*/ 0 w 9388955"/>
              <a:gd name="connsiteY0" fmla="*/ 1568231 h 2732590"/>
              <a:gd name="connsiteX1" fmla="*/ 4067714 w 9388955"/>
              <a:gd name="connsiteY1" fmla="*/ 1564701 h 2732590"/>
              <a:gd name="connsiteX2" fmla="*/ 4074775 w 9388955"/>
              <a:gd name="connsiteY2" fmla="*/ 2728331 h 2732590"/>
              <a:gd name="connsiteX3" fmla="*/ 6296350 w 9388955"/>
              <a:gd name="connsiteY3" fmla="*/ 2728331 h 2732590"/>
              <a:gd name="connsiteX4" fmla="*/ 6296350 w 9388955"/>
              <a:gd name="connsiteY4" fmla="*/ 1576039 h 2732590"/>
              <a:gd name="connsiteX5" fmla="*/ 6809306 w 9388955"/>
              <a:gd name="connsiteY5" fmla="*/ 1576039 h 2732590"/>
              <a:gd name="connsiteX6" fmla="*/ 6809306 w 9388955"/>
              <a:gd name="connsiteY6" fmla="*/ 2729415 h 2732590"/>
              <a:gd name="connsiteX7" fmla="*/ 7188448 w 9388955"/>
              <a:gd name="connsiteY7" fmla="*/ 2732590 h 2732590"/>
              <a:gd name="connsiteX8" fmla="*/ 7188448 w 9388955"/>
              <a:gd name="connsiteY8" fmla="*/ 0 h 2732590"/>
              <a:gd name="connsiteX9" fmla="*/ 7582458 w 9388955"/>
              <a:gd name="connsiteY9" fmla="*/ 0 h 2732590"/>
              <a:gd name="connsiteX10" fmla="*/ 7582458 w 9388955"/>
              <a:gd name="connsiteY10" fmla="*/ 973873 h 2732590"/>
              <a:gd name="connsiteX11" fmla="*/ 7679101 w 9388955"/>
              <a:gd name="connsiteY11" fmla="*/ 973873 h 2732590"/>
              <a:gd name="connsiteX12" fmla="*/ 7679101 w 9388955"/>
              <a:gd name="connsiteY12" fmla="*/ 1196897 h 2732590"/>
              <a:gd name="connsiteX13" fmla="*/ 7820350 w 9388955"/>
              <a:gd name="connsiteY13" fmla="*/ 1196897 h 2732590"/>
              <a:gd name="connsiteX14" fmla="*/ 7820350 w 9388955"/>
              <a:gd name="connsiteY14" fmla="*/ 14868 h 2732590"/>
              <a:gd name="connsiteX15" fmla="*/ 8311004 w 9388955"/>
              <a:gd name="connsiteY15" fmla="*/ 14868 h 2732590"/>
              <a:gd name="connsiteX16" fmla="*/ 8311004 w 9388955"/>
              <a:gd name="connsiteY16" fmla="*/ 713678 h 2732590"/>
              <a:gd name="connsiteX17" fmla="*/ 8660409 w 9388955"/>
              <a:gd name="connsiteY17" fmla="*/ 713678 h 2732590"/>
              <a:gd name="connsiteX18" fmla="*/ 8660409 w 9388955"/>
              <a:gd name="connsiteY18" fmla="*/ 817756 h 2732590"/>
              <a:gd name="connsiteX19" fmla="*/ 8719882 w 9388955"/>
              <a:gd name="connsiteY19" fmla="*/ 817756 h 2732590"/>
              <a:gd name="connsiteX20" fmla="*/ 8719882 w 9388955"/>
              <a:gd name="connsiteY20" fmla="*/ 1561170 h 2732590"/>
              <a:gd name="connsiteX21" fmla="*/ 9388955 w 9388955"/>
              <a:gd name="connsiteY21" fmla="*/ 1561170 h 2732590"/>
              <a:gd name="connsiteX0" fmla="*/ 0 w 9388955"/>
              <a:gd name="connsiteY0" fmla="*/ 1564700 h 2732590"/>
              <a:gd name="connsiteX1" fmla="*/ 4067714 w 9388955"/>
              <a:gd name="connsiteY1" fmla="*/ 1564701 h 2732590"/>
              <a:gd name="connsiteX2" fmla="*/ 4074775 w 9388955"/>
              <a:gd name="connsiteY2" fmla="*/ 2728331 h 2732590"/>
              <a:gd name="connsiteX3" fmla="*/ 6296350 w 9388955"/>
              <a:gd name="connsiteY3" fmla="*/ 2728331 h 2732590"/>
              <a:gd name="connsiteX4" fmla="*/ 6296350 w 9388955"/>
              <a:gd name="connsiteY4" fmla="*/ 1576039 h 2732590"/>
              <a:gd name="connsiteX5" fmla="*/ 6809306 w 9388955"/>
              <a:gd name="connsiteY5" fmla="*/ 1576039 h 2732590"/>
              <a:gd name="connsiteX6" fmla="*/ 6809306 w 9388955"/>
              <a:gd name="connsiteY6" fmla="*/ 2729415 h 2732590"/>
              <a:gd name="connsiteX7" fmla="*/ 7188448 w 9388955"/>
              <a:gd name="connsiteY7" fmla="*/ 2732590 h 2732590"/>
              <a:gd name="connsiteX8" fmla="*/ 7188448 w 9388955"/>
              <a:gd name="connsiteY8" fmla="*/ 0 h 2732590"/>
              <a:gd name="connsiteX9" fmla="*/ 7582458 w 9388955"/>
              <a:gd name="connsiteY9" fmla="*/ 0 h 2732590"/>
              <a:gd name="connsiteX10" fmla="*/ 7582458 w 9388955"/>
              <a:gd name="connsiteY10" fmla="*/ 973873 h 2732590"/>
              <a:gd name="connsiteX11" fmla="*/ 7679101 w 9388955"/>
              <a:gd name="connsiteY11" fmla="*/ 973873 h 2732590"/>
              <a:gd name="connsiteX12" fmla="*/ 7679101 w 9388955"/>
              <a:gd name="connsiteY12" fmla="*/ 1196897 h 2732590"/>
              <a:gd name="connsiteX13" fmla="*/ 7820350 w 9388955"/>
              <a:gd name="connsiteY13" fmla="*/ 1196897 h 2732590"/>
              <a:gd name="connsiteX14" fmla="*/ 7820350 w 9388955"/>
              <a:gd name="connsiteY14" fmla="*/ 14868 h 2732590"/>
              <a:gd name="connsiteX15" fmla="*/ 8311004 w 9388955"/>
              <a:gd name="connsiteY15" fmla="*/ 14868 h 2732590"/>
              <a:gd name="connsiteX16" fmla="*/ 8311004 w 9388955"/>
              <a:gd name="connsiteY16" fmla="*/ 713678 h 2732590"/>
              <a:gd name="connsiteX17" fmla="*/ 8660409 w 9388955"/>
              <a:gd name="connsiteY17" fmla="*/ 713678 h 2732590"/>
              <a:gd name="connsiteX18" fmla="*/ 8660409 w 9388955"/>
              <a:gd name="connsiteY18" fmla="*/ 817756 h 2732590"/>
              <a:gd name="connsiteX19" fmla="*/ 8719882 w 9388955"/>
              <a:gd name="connsiteY19" fmla="*/ 817756 h 2732590"/>
              <a:gd name="connsiteX20" fmla="*/ 8719882 w 9388955"/>
              <a:gd name="connsiteY20" fmla="*/ 1561170 h 2732590"/>
              <a:gd name="connsiteX21" fmla="*/ 9388955 w 9388955"/>
              <a:gd name="connsiteY21" fmla="*/ 1561170 h 2732590"/>
              <a:gd name="connsiteX0" fmla="*/ 0 w 12195844"/>
              <a:gd name="connsiteY0" fmla="*/ 1564700 h 2732590"/>
              <a:gd name="connsiteX1" fmla="*/ 6874603 w 12195844"/>
              <a:gd name="connsiteY1" fmla="*/ 1564701 h 2732590"/>
              <a:gd name="connsiteX2" fmla="*/ 6881664 w 12195844"/>
              <a:gd name="connsiteY2" fmla="*/ 2728331 h 2732590"/>
              <a:gd name="connsiteX3" fmla="*/ 9103239 w 12195844"/>
              <a:gd name="connsiteY3" fmla="*/ 2728331 h 2732590"/>
              <a:gd name="connsiteX4" fmla="*/ 9103239 w 12195844"/>
              <a:gd name="connsiteY4" fmla="*/ 1576039 h 2732590"/>
              <a:gd name="connsiteX5" fmla="*/ 9616195 w 12195844"/>
              <a:gd name="connsiteY5" fmla="*/ 1576039 h 2732590"/>
              <a:gd name="connsiteX6" fmla="*/ 9616195 w 12195844"/>
              <a:gd name="connsiteY6" fmla="*/ 2729415 h 2732590"/>
              <a:gd name="connsiteX7" fmla="*/ 9995337 w 12195844"/>
              <a:gd name="connsiteY7" fmla="*/ 2732590 h 2732590"/>
              <a:gd name="connsiteX8" fmla="*/ 9995337 w 12195844"/>
              <a:gd name="connsiteY8" fmla="*/ 0 h 2732590"/>
              <a:gd name="connsiteX9" fmla="*/ 10389347 w 12195844"/>
              <a:gd name="connsiteY9" fmla="*/ 0 h 2732590"/>
              <a:gd name="connsiteX10" fmla="*/ 10389347 w 12195844"/>
              <a:gd name="connsiteY10" fmla="*/ 973873 h 2732590"/>
              <a:gd name="connsiteX11" fmla="*/ 10485990 w 12195844"/>
              <a:gd name="connsiteY11" fmla="*/ 973873 h 2732590"/>
              <a:gd name="connsiteX12" fmla="*/ 10485990 w 12195844"/>
              <a:gd name="connsiteY12" fmla="*/ 1196897 h 2732590"/>
              <a:gd name="connsiteX13" fmla="*/ 10627239 w 12195844"/>
              <a:gd name="connsiteY13" fmla="*/ 1196897 h 2732590"/>
              <a:gd name="connsiteX14" fmla="*/ 10627239 w 12195844"/>
              <a:gd name="connsiteY14" fmla="*/ 14868 h 2732590"/>
              <a:gd name="connsiteX15" fmla="*/ 11117893 w 12195844"/>
              <a:gd name="connsiteY15" fmla="*/ 14868 h 2732590"/>
              <a:gd name="connsiteX16" fmla="*/ 11117893 w 12195844"/>
              <a:gd name="connsiteY16" fmla="*/ 713678 h 2732590"/>
              <a:gd name="connsiteX17" fmla="*/ 11467298 w 12195844"/>
              <a:gd name="connsiteY17" fmla="*/ 713678 h 2732590"/>
              <a:gd name="connsiteX18" fmla="*/ 11467298 w 12195844"/>
              <a:gd name="connsiteY18" fmla="*/ 817756 h 2732590"/>
              <a:gd name="connsiteX19" fmla="*/ 11526771 w 12195844"/>
              <a:gd name="connsiteY19" fmla="*/ 817756 h 2732590"/>
              <a:gd name="connsiteX20" fmla="*/ 11526771 w 12195844"/>
              <a:gd name="connsiteY20" fmla="*/ 1561170 h 2732590"/>
              <a:gd name="connsiteX21" fmla="*/ 12195844 w 12195844"/>
              <a:gd name="connsiteY21" fmla="*/ 1561170 h 2732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2195844" h="2732590">
                <a:moveTo>
                  <a:pt x="0" y="1564700"/>
                </a:moveTo>
                <a:lnTo>
                  <a:pt x="6874603" y="1564701"/>
                </a:lnTo>
                <a:cubicBezTo>
                  <a:pt x="6873426" y="1953755"/>
                  <a:pt x="6882841" y="2339277"/>
                  <a:pt x="6881664" y="2728331"/>
                </a:cubicBezTo>
                <a:lnTo>
                  <a:pt x="9103239" y="2728331"/>
                </a:lnTo>
                <a:lnTo>
                  <a:pt x="9103239" y="1576039"/>
                </a:lnTo>
                <a:lnTo>
                  <a:pt x="9616195" y="1576039"/>
                </a:lnTo>
                <a:lnTo>
                  <a:pt x="9616195" y="2729415"/>
                </a:lnTo>
                <a:lnTo>
                  <a:pt x="9995337" y="2732590"/>
                </a:lnTo>
                <a:lnTo>
                  <a:pt x="9995337" y="0"/>
                </a:lnTo>
                <a:lnTo>
                  <a:pt x="10389347" y="0"/>
                </a:lnTo>
                <a:lnTo>
                  <a:pt x="10389347" y="973873"/>
                </a:lnTo>
                <a:lnTo>
                  <a:pt x="10485990" y="973873"/>
                </a:lnTo>
                <a:lnTo>
                  <a:pt x="10485990" y="1196897"/>
                </a:lnTo>
                <a:lnTo>
                  <a:pt x="10627239" y="1196897"/>
                </a:lnTo>
                <a:lnTo>
                  <a:pt x="10627239" y="14868"/>
                </a:lnTo>
                <a:lnTo>
                  <a:pt x="11117893" y="14868"/>
                </a:lnTo>
                <a:lnTo>
                  <a:pt x="11117893" y="713678"/>
                </a:lnTo>
                <a:lnTo>
                  <a:pt x="11467298" y="713678"/>
                </a:lnTo>
                <a:lnTo>
                  <a:pt x="11467298" y="817756"/>
                </a:lnTo>
                <a:lnTo>
                  <a:pt x="11526771" y="817756"/>
                </a:lnTo>
                <a:lnTo>
                  <a:pt x="11526771" y="1561170"/>
                </a:lnTo>
                <a:lnTo>
                  <a:pt x="12195844" y="1561170"/>
                </a:lnTo>
              </a:path>
            </a:pathLst>
          </a:custGeom>
          <a:noFill/>
          <a:ln w="44450">
            <a:solidFill>
              <a:srgbClr val="00A0E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800" b="1" dirty="0">
              <a:solidFill>
                <a:srgbClr val="FFFFFF"/>
              </a:solidFill>
            </a:endParaRPr>
          </a:p>
        </p:txBody>
      </p:sp>
      <p:sp>
        <p:nvSpPr>
          <p:cNvPr id="14" name="Freeform 13"/>
          <p:cNvSpPr/>
          <p:nvPr userDrawn="1"/>
        </p:nvSpPr>
        <p:spPr>
          <a:xfrm>
            <a:off x="2" y="2779423"/>
            <a:ext cx="9139237" cy="1250950"/>
          </a:xfrm>
          <a:custGeom>
            <a:avLst/>
            <a:gdLst>
              <a:gd name="connsiteX0" fmla="*/ 0 w 9366250"/>
              <a:gd name="connsiteY0" fmla="*/ 1250950 h 1250950"/>
              <a:gd name="connsiteX1" fmla="*/ 4718050 w 9366250"/>
              <a:gd name="connsiteY1" fmla="*/ 1250950 h 1250950"/>
              <a:gd name="connsiteX2" fmla="*/ 4718050 w 9366250"/>
              <a:gd name="connsiteY2" fmla="*/ 762000 h 1250950"/>
              <a:gd name="connsiteX3" fmla="*/ 4984750 w 9366250"/>
              <a:gd name="connsiteY3" fmla="*/ 495300 h 1250950"/>
              <a:gd name="connsiteX4" fmla="*/ 5175250 w 9366250"/>
              <a:gd name="connsiteY4" fmla="*/ 685800 h 1250950"/>
              <a:gd name="connsiteX5" fmla="*/ 5175250 w 9366250"/>
              <a:gd name="connsiteY5" fmla="*/ 0 h 1250950"/>
              <a:gd name="connsiteX6" fmla="*/ 5835650 w 9366250"/>
              <a:gd name="connsiteY6" fmla="*/ 0 h 1250950"/>
              <a:gd name="connsiteX7" fmla="*/ 5835650 w 9366250"/>
              <a:gd name="connsiteY7" fmla="*/ 1244600 h 1250950"/>
              <a:gd name="connsiteX8" fmla="*/ 9366250 w 9366250"/>
              <a:gd name="connsiteY8" fmla="*/ 1244600 h 1250950"/>
              <a:gd name="connsiteX0" fmla="*/ 0 w 12204985"/>
              <a:gd name="connsiteY0" fmla="*/ 1250950 h 1250950"/>
              <a:gd name="connsiteX1" fmla="*/ 7556785 w 12204985"/>
              <a:gd name="connsiteY1" fmla="*/ 1250950 h 1250950"/>
              <a:gd name="connsiteX2" fmla="*/ 7556785 w 12204985"/>
              <a:gd name="connsiteY2" fmla="*/ 762000 h 1250950"/>
              <a:gd name="connsiteX3" fmla="*/ 7823485 w 12204985"/>
              <a:gd name="connsiteY3" fmla="*/ 495300 h 1250950"/>
              <a:gd name="connsiteX4" fmla="*/ 8013985 w 12204985"/>
              <a:gd name="connsiteY4" fmla="*/ 685800 h 1250950"/>
              <a:gd name="connsiteX5" fmla="*/ 8013985 w 12204985"/>
              <a:gd name="connsiteY5" fmla="*/ 0 h 1250950"/>
              <a:gd name="connsiteX6" fmla="*/ 8674385 w 12204985"/>
              <a:gd name="connsiteY6" fmla="*/ 0 h 1250950"/>
              <a:gd name="connsiteX7" fmla="*/ 8674385 w 12204985"/>
              <a:gd name="connsiteY7" fmla="*/ 1244600 h 1250950"/>
              <a:gd name="connsiteX8" fmla="*/ 12204985 w 12204985"/>
              <a:gd name="connsiteY8" fmla="*/ 1244600 h 12509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204985" h="1250950">
                <a:moveTo>
                  <a:pt x="0" y="1250950"/>
                </a:moveTo>
                <a:lnTo>
                  <a:pt x="7556785" y="1250950"/>
                </a:lnTo>
                <a:lnTo>
                  <a:pt x="7556785" y="762000"/>
                </a:lnTo>
                <a:lnTo>
                  <a:pt x="7823485" y="495300"/>
                </a:lnTo>
                <a:lnTo>
                  <a:pt x="8013985" y="685800"/>
                </a:lnTo>
                <a:lnTo>
                  <a:pt x="8013985" y="0"/>
                </a:lnTo>
                <a:lnTo>
                  <a:pt x="8674385" y="0"/>
                </a:lnTo>
                <a:lnTo>
                  <a:pt x="8674385" y="1244600"/>
                </a:lnTo>
                <a:lnTo>
                  <a:pt x="12204985" y="1244600"/>
                </a:lnTo>
              </a:path>
            </a:pathLst>
          </a:custGeom>
          <a:noFill/>
          <a:ln w="44450">
            <a:solidFill>
              <a:srgbClr val="E6439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800" b="1">
              <a:solidFill>
                <a:srgbClr val="FFFFFF"/>
              </a:solidFill>
            </a:endParaRPr>
          </a:p>
        </p:txBody>
      </p:sp>
      <p:sp>
        <p:nvSpPr>
          <p:cNvPr id="16" name="Freeform 15"/>
          <p:cNvSpPr/>
          <p:nvPr userDrawn="1"/>
        </p:nvSpPr>
        <p:spPr>
          <a:xfrm>
            <a:off x="3" y="914400"/>
            <a:ext cx="9142013" cy="3610248"/>
          </a:xfrm>
          <a:custGeom>
            <a:avLst/>
            <a:gdLst>
              <a:gd name="connsiteX0" fmla="*/ 0 w 9366637"/>
              <a:gd name="connsiteY0" fmla="*/ 3299792 h 3609893"/>
              <a:gd name="connsiteX1" fmla="*/ 4810539 w 9366637"/>
              <a:gd name="connsiteY1" fmla="*/ 3299792 h 3609893"/>
              <a:gd name="connsiteX2" fmla="*/ 4810539 w 9366637"/>
              <a:gd name="connsiteY2" fmla="*/ 3609893 h 3609893"/>
              <a:gd name="connsiteX3" fmla="*/ 5550010 w 9366637"/>
              <a:gd name="connsiteY3" fmla="*/ 3609893 h 3609893"/>
              <a:gd name="connsiteX4" fmla="*/ 5550010 w 9366637"/>
              <a:gd name="connsiteY4" fmla="*/ 2671639 h 3609893"/>
              <a:gd name="connsiteX5" fmla="*/ 6106602 w 9366637"/>
              <a:gd name="connsiteY5" fmla="*/ 2671639 h 3609893"/>
              <a:gd name="connsiteX6" fmla="*/ 6106602 w 9366637"/>
              <a:gd name="connsiteY6" fmla="*/ 2234317 h 3609893"/>
              <a:gd name="connsiteX7" fmla="*/ 6305384 w 9366637"/>
              <a:gd name="connsiteY7" fmla="*/ 2234317 h 3609893"/>
              <a:gd name="connsiteX8" fmla="*/ 6305384 w 9366637"/>
              <a:gd name="connsiteY8" fmla="*/ 135173 h 3609893"/>
              <a:gd name="connsiteX9" fmla="*/ 6599583 w 9366637"/>
              <a:gd name="connsiteY9" fmla="*/ 135173 h 3609893"/>
              <a:gd name="connsiteX10" fmla="*/ 6599583 w 9366637"/>
              <a:gd name="connsiteY10" fmla="*/ 0 h 3609893"/>
              <a:gd name="connsiteX11" fmla="*/ 6981245 w 9366637"/>
              <a:gd name="connsiteY11" fmla="*/ 0 h 3609893"/>
              <a:gd name="connsiteX12" fmla="*/ 6981245 w 9366637"/>
              <a:gd name="connsiteY12" fmla="*/ 3307743 h 3609893"/>
              <a:gd name="connsiteX13" fmla="*/ 9366637 w 9366637"/>
              <a:gd name="connsiteY13" fmla="*/ 3307743 h 3609893"/>
              <a:gd name="connsiteX0" fmla="*/ 0 w 9366637"/>
              <a:gd name="connsiteY0" fmla="*/ 3299792 h 3609893"/>
              <a:gd name="connsiteX1" fmla="*/ 3917322 w 9366637"/>
              <a:gd name="connsiteY1" fmla="*/ 3299792 h 3609893"/>
              <a:gd name="connsiteX2" fmla="*/ 4810539 w 9366637"/>
              <a:gd name="connsiteY2" fmla="*/ 3609893 h 3609893"/>
              <a:gd name="connsiteX3" fmla="*/ 5550010 w 9366637"/>
              <a:gd name="connsiteY3" fmla="*/ 3609893 h 3609893"/>
              <a:gd name="connsiteX4" fmla="*/ 5550010 w 9366637"/>
              <a:gd name="connsiteY4" fmla="*/ 2671639 h 3609893"/>
              <a:gd name="connsiteX5" fmla="*/ 6106602 w 9366637"/>
              <a:gd name="connsiteY5" fmla="*/ 2671639 h 3609893"/>
              <a:gd name="connsiteX6" fmla="*/ 6106602 w 9366637"/>
              <a:gd name="connsiteY6" fmla="*/ 2234317 h 3609893"/>
              <a:gd name="connsiteX7" fmla="*/ 6305384 w 9366637"/>
              <a:gd name="connsiteY7" fmla="*/ 2234317 h 3609893"/>
              <a:gd name="connsiteX8" fmla="*/ 6305384 w 9366637"/>
              <a:gd name="connsiteY8" fmla="*/ 135173 h 3609893"/>
              <a:gd name="connsiteX9" fmla="*/ 6599583 w 9366637"/>
              <a:gd name="connsiteY9" fmla="*/ 135173 h 3609893"/>
              <a:gd name="connsiteX10" fmla="*/ 6599583 w 9366637"/>
              <a:gd name="connsiteY10" fmla="*/ 0 h 3609893"/>
              <a:gd name="connsiteX11" fmla="*/ 6981245 w 9366637"/>
              <a:gd name="connsiteY11" fmla="*/ 0 h 3609893"/>
              <a:gd name="connsiteX12" fmla="*/ 6981245 w 9366637"/>
              <a:gd name="connsiteY12" fmla="*/ 3307743 h 3609893"/>
              <a:gd name="connsiteX13" fmla="*/ 9366637 w 9366637"/>
              <a:gd name="connsiteY13" fmla="*/ 3307743 h 3609893"/>
              <a:gd name="connsiteX0" fmla="*/ 0 w 9366637"/>
              <a:gd name="connsiteY0" fmla="*/ 3299792 h 3613423"/>
              <a:gd name="connsiteX1" fmla="*/ 3917322 w 9366637"/>
              <a:gd name="connsiteY1" fmla="*/ 3299792 h 3613423"/>
              <a:gd name="connsiteX2" fmla="*/ 3917322 w 9366637"/>
              <a:gd name="connsiteY2" fmla="*/ 3613423 h 3613423"/>
              <a:gd name="connsiteX3" fmla="*/ 5550010 w 9366637"/>
              <a:gd name="connsiteY3" fmla="*/ 3609893 h 3613423"/>
              <a:gd name="connsiteX4" fmla="*/ 5550010 w 9366637"/>
              <a:gd name="connsiteY4" fmla="*/ 2671639 h 3613423"/>
              <a:gd name="connsiteX5" fmla="*/ 6106602 w 9366637"/>
              <a:gd name="connsiteY5" fmla="*/ 2671639 h 3613423"/>
              <a:gd name="connsiteX6" fmla="*/ 6106602 w 9366637"/>
              <a:gd name="connsiteY6" fmla="*/ 2234317 h 3613423"/>
              <a:gd name="connsiteX7" fmla="*/ 6305384 w 9366637"/>
              <a:gd name="connsiteY7" fmla="*/ 2234317 h 3613423"/>
              <a:gd name="connsiteX8" fmla="*/ 6305384 w 9366637"/>
              <a:gd name="connsiteY8" fmla="*/ 135173 h 3613423"/>
              <a:gd name="connsiteX9" fmla="*/ 6599583 w 9366637"/>
              <a:gd name="connsiteY9" fmla="*/ 135173 h 3613423"/>
              <a:gd name="connsiteX10" fmla="*/ 6599583 w 9366637"/>
              <a:gd name="connsiteY10" fmla="*/ 0 h 3613423"/>
              <a:gd name="connsiteX11" fmla="*/ 6981245 w 9366637"/>
              <a:gd name="connsiteY11" fmla="*/ 0 h 3613423"/>
              <a:gd name="connsiteX12" fmla="*/ 6981245 w 9366637"/>
              <a:gd name="connsiteY12" fmla="*/ 3307743 h 3613423"/>
              <a:gd name="connsiteX13" fmla="*/ 9366637 w 9366637"/>
              <a:gd name="connsiteY13" fmla="*/ 3307743 h 3613423"/>
              <a:gd name="connsiteX0" fmla="*/ 0 w 9366637"/>
              <a:gd name="connsiteY0" fmla="*/ 3299792 h 3609893"/>
              <a:gd name="connsiteX1" fmla="*/ 3917322 w 9366637"/>
              <a:gd name="connsiteY1" fmla="*/ 3299792 h 3609893"/>
              <a:gd name="connsiteX2" fmla="*/ 3920852 w 9366637"/>
              <a:gd name="connsiteY2" fmla="*/ 3609893 h 3609893"/>
              <a:gd name="connsiteX3" fmla="*/ 5550010 w 9366637"/>
              <a:gd name="connsiteY3" fmla="*/ 3609893 h 3609893"/>
              <a:gd name="connsiteX4" fmla="*/ 5550010 w 9366637"/>
              <a:gd name="connsiteY4" fmla="*/ 2671639 h 3609893"/>
              <a:gd name="connsiteX5" fmla="*/ 6106602 w 9366637"/>
              <a:gd name="connsiteY5" fmla="*/ 2671639 h 3609893"/>
              <a:gd name="connsiteX6" fmla="*/ 6106602 w 9366637"/>
              <a:gd name="connsiteY6" fmla="*/ 2234317 h 3609893"/>
              <a:gd name="connsiteX7" fmla="*/ 6305384 w 9366637"/>
              <a:gd name="connsiteY7" fmla="*/ 2234317 h 3609893"/>
              <a:gd name="connsiteX8" fmla="*/ 6305384 w 9366637"/>
              <a:gd name="connsiteY8" fmla="*/ 135173 h 3609893"/>
              <a:gd name="connsiteX9" fmla="*/ 6599583 w 9366637"/>
              <a:gd name="connsiteY9" fmla="*/ 135173 h 3609893"/>
              <a:gd name="connsiteX10" fmla="*/ 6599583 w 9366637"/>
              <a:gd name="connsiteY10" fmla="*/ 0 h 3609893"/>
              <a:gd name="connsiteX11" fmla="*/ 6981245 w 9366637"/>
              <a:gd name="connsiteY11" fmla="*/ 0 h 3609893"/>
              <a:gd name="connsiteX12" fmla="*/ 6981245 w 9366637"/>
              <a:gd name="connsiteY12" fmla="*/ 3307743 h 3609893"/>
              <a:gd name="connsiteX13" fmla="*/ 9366637 w 9366637"/>
              <a:gd name="connsiteY13" fmla="*/ 3307743 h 3609893"/>
              <a:gd name="connsiteX0" fmla="*/ 0 w 9366637"/>
              <a:gd name="connsiteY0" fmla="*/ 3299792 h 3613423"/>
              <a:gd name="connsiteX1" fmla="*/ 3917322 w 9366637"/>
              <a:gd name="connsiteY1" fmla="*/ 3299792 h 3613423"/>
              <a:gd name="connsiteX2" fmla="*/ 3913791 w 9366637"/>
              <a:gd name="connsiteY2" fmla="*/ 3613423 h 3613423"/>
              <a:gd name="connsiteX3" fmla="*/ 5550010 w 9366637"/>
              <a:gd name="connsiteY3" fmla="*/ 3609893 h 3613423"/>
              <a:gd name="connsiteX4" fmla="*/ 5550010 w 9366637"/>
              <a:gd name="connsiteY4" fmla="*/ 2671639 h 3613423"/>
              <a:gd name="connsiteX5" fmla="*/ 6106602 w 9366637"/>
              <a:gd name="connsiteY5" fmla="*/ 2671639 h 3613423"/>
              <a:gd name="connsiteX6" fmla="*/ 6106602 w 9366637"/>
              <a:gd name="connsiteY6" fmla="*/ 2234317 h 3613423"/>
              <a:gd name="connsiteX7" fmla="*/ 6305384 w 9366637"/>
              <a:gd name="connsiteY7" fmla="*/ 2234317 h 3613423"/>
              <a:gd name="connsiteX8" fmla="*/ 6305384 w 9366637"/>
              <a:gd name="connsiteY8" fmla="*/ 135173 h 3613423"/>
              <a:gd name="connsiteX9" fmla="*/ 6599583 w 9366637"/>
              <a:gd name="connsiteY9" fmla="*/ 135173 h 3613423"/>
              <a:gd name="connsiteX10" fmla="*/ 6599583 w 9366637"/>
              <a:gd name="connsiteY10" fmla="*/ 0 h 3613423"/>
              <a:gd name="connsiteX11" fmla="*/ 6981245 w 9366637"/>
              <a:gd name="connsiteY11" fmla="*/ 0 h 3613423"/>
              <a:gd name="connsiteX12" fmla="*/ 6981245 w 9366637"/>
              <a:gd name="connsiteY12" fmla="*/ 3307743 h 3613423"/>
              <a:gd name="connsiteX13" fmla="*/ 9366637 w 9366637"/>
              <a:gd name="connsiteY13" fmla="*/ 3307743 h 3613423"/>
              <a:gd name="connsiteX0" fmla="*/ 0 w 9366637"/>
              <a:gd name="connsiteY0" fmla="*/ 3299792 h 3616598"/>
              <a:gd name="connsiteX1" fmla="*/ 3917322 w 9366637"/>
              <a:gd name="connsiteY1" fmla="*/ 3299792 h 3616598"/>
              <a:gd name="connsiteX2" fmla="*/ 3920141 w 9366637"/>
              <a:gd name="connsiteY2" fmla="*/ 3616598 h 3616598"/>
              <a:gd name="connsiteX3" fmla="*/ 5550010 w 9366637"/>
              <a:gd name="connsiteY3" fmla="*/ 3609893 h 3616598"/>
              <a:gd name="connsiteX4" fmla="*/ 5550010 w 9366637"/>
              <a:gd name="connsiteY4" fmla="*/ 2671639 h 3616598"/>
              <a:gd name="connsiteX5" fmla="*/ 6106602 w 9366637"/>
              <a:gd name="connsiteY5" fmla="*/ 2671639 h 3616598"/>
              <a:gd name="connsiteX6" fmla="*/ 6106602 w 9366637"/>
              <a:gd name="connsiteY6" fmla="*/ 2234317 h 3616598"/>
              <a:gd name="connsiteX7" fmla="*/ 6305384 w 9366637"/>
              <a:gd name="connsiteY7" fmla="*/ 2234317 h 3616598"/>
              <a:gd name="connsiteX8" fmla="*/ 6305384 w 9366637"/>
              <a:gd name="connsiteY8" fmla="*/ 135173 h 3616598"/>
              <a:gd name="connsiteX9" fmla="*/ 6599583 w 9366637"/>
              <a:gd name="connsiteY9" fmla="*/ 135173 h 3616598"/>
              <a:gd name="connsiteX10" fmla="*/ 6599583 w 9366637"/>
              <a:gd name="connsiteY10" fmla="*/ 0 h 3616598"/>
              <a:gd name="connsiteX11" fmla="*/ 6981245 w 9366637"/>
              <a:gd name="connsiteY11" fmla="*/ 0 h 3616598"/>
              <a:gd name="connsiteX12" fmla="*/ 6981245 w 9366637"/>
              <a:gd name="connsiteY12" fmla="*/ 3307743 h 3616598"/>
              <a:gd name="connsiteX13" fmla="*/ 9366637 w 9366637"/>
              <a:gd name="connsiteY13" fmla="*/ 3307743 h 3616598"/>
              <a:gd name="connsiteX0" fmla="*/ 0 w 9366637"/>
              <a:gd name="connsiteY0" fmla="*/ 3299792 h 3613423"/>
              <a:gd name="connsiteX1" fmla="*/ 3917322 w 9366637"/>
              <a:gd name="connsiteY1" fmla="*/ 3299792 h 3613423"/>
              <a:gd name="connsiteX2" fmla="*/ 3913791 w 9366637"/>
              <a:gd name="connsiteY2" fmla="*/ 3613423 h 3613423"/>
              <a:gd name="connsiteX3" fmla="*/ 5550010 w 9366637"/>
              <a:gd name="connsiteY3" fmla="*/ 3609893 h 3613423"/>
              <a:gd name="connsiteX4" fmla="*/ 5550010 w 9366637"/>
              <a:gd name="connsiteY4" fmla="*/ 2671639 h 3613423"/>
              <a:gd name="connsiteX5" fmla="*/ 6106602 w 9366637"/>
              <a:gd name="connsiteY5" fmla="*/ 2671639 h 3613423"/>
              <a:gd name="connsiteX6" fmla="*/ 6106602 w 9366637"/>
              <a:gd name="connsiteY6" fmla="*/ 2234317 h 3613423"/>
              <a:gd name="connsiteX7" fmla="*/ 6305384 w 9366637"/>
              <a:gd name="connsiteY7" fmla="*/ 2234317 h 3613423"/>
              <a:gd name="connsiteX8" fmla="*/ 6305384 w 9366637"/>
              <a:gd name="connsiteY8" fmla="*/ 135173 h 3613423"/>
              <a:gd name="connsiteX9" fmla="*/ 6599583 w 9366637"/>
              <a:gd name="connsiteY9" fmla="*/ 135173 h 3613423"/>
              <a:gd name="connsiteX10" fmla="*/ 6599583 w 9366637"/>
              <a:gd name="connsiteY10" fmla="*/ 0 h 3613423"/>
              <a:gd name="connsiteX11" fmla="*/ 6981245 w 9366637"/>
              <a:gd name="connsiteY11" fmla="*/ 0 h 3613423"/>
              <a:gd name="connsiteX12" fmla="*/ 6981245 w 9366637"/>
              <a:gd name="connsiteY12" fmla="*/ 3307743 h 3613423"/>
              <a:gd name="connsiteX13" fmla="*/ 9366637 w 9366637"/>
              <a:gd name="connsiteY13" fmla="*/ 3307743 h 3613423"/>
              <a:gd name="connsiteX0" fmla="*/ 0 w 9366637"/>
              <a:gd name="connsiteY0" fmla="*/ 3299792 h 3610248"/>
              <a:gd name="connsiteX1" fmla="*/ 3917322 w 9366637"/>
              <a:gd name="connsiteY1" fmla="*/ 3299792 h 3610248"/>
              <a:gd name="connsiteX2" fmla="*/ 3916966 w 9366637"/>
              <a:gd name="connsiteY2" fmla="*/ 3610248 h 3610248"/>
              <a:gd name="connsiteX3" fmla="*/ 5550010 w 9366637"/>
              <a:gd name="connsiteY3" fmla="*/ 3609893 h 3610248"/>
              <a:gd name="connsiteX4" fmla="*/ 5550010 w 9366637"/>
              <a:gd name="connsiteY4" fmla="*/ 2671639 h 3610248"/>
              <a:gd name="connsiteX5" fmla="*/ 6106602 w 9366637"/>
              <a:gd name="connsiteY5" fmla="*/ 2671639 h 3610248"/>
              <a:gd name="connsiteX6" fmla="*/ 6106602 w 9366637"/>
              <a:gd name="connsiteY6" fmla="*/ 2234317 h 3610248"/>
              <a:gd name="connsiteX7" fmla="*/ 6305384 w 9366637"/>
              <a:gd name="connsiteY7" fmla="*/ 2234317 h 3610248"/>
              <a:gd name="connsiteX8" fmla="*/ 6305384 w 9366637"/>
              <a:gd name="connsiteY8" fmla="*/ 135173 h 3610248"/>
              <a:gd name="connsiteX9" fmla="*/ 6599583 w 9366637"/>
              <a:gd name="connsiteY9" fmla="*/ 135173 h 3610248"/>
              <a:gd name="connsiteX10" fmla="*/ 6599583 w 9366637"/>
              <a:gd name="connsiteY10" fmla="*/ 0 h 3610248"/>
              <a:gd name="connsiteX11" fmla="*/ 6981245 w 9366637"/>
              <a:gd name="connsiteY11" fmla="*/ 0 h 3610248"/>
              <a:gd name="connsiteX12" fmla="*/ 6981245 w 9366637"/>
              <a:gd name="connsiteY12" fmla="*/ 3307743 h 3610248"/>
              <a:gd name="connsiteX13" fmla="*/ 9366637 w 9366637"/>
              <a:gd name="connsiteY13" fmla="*/ 3307743 h 3610248"/>
              <a:gd name="connsiteX0" fmla="*/ 0 w 11905939"/>
              <a:gd name="connsiteY0" fmla="*/ 3299792 h 3610248"/>
              <a:gd name="connsiteX1" fmla="*/ 6456624 w 11905939"/>
              <a:gd name="connsiteY1" fmla="*/ 3299792 h 3610248"/>
              <a:gd name="connsiteX2" fmla="*/ 6456268 w 11905939"/>
              <a:gd name="connsiteY2" fmla="*/ 3610248 h 3610248"/>
              <a:gd name="connsiteX3" fmla="*/ 8089312 w 11905939"/>
              <a:gd name="connsiteY3" fmla="*/ 3609893 h 3610248"/>
              <a:gd name="connsiteX4" fmla="*/ 8089312 w 11905939"/>
              <a:gd name="connsiteY4" fmla="*/ 2671639 h 3610248"/>
              <a:gd name="connsiteX5" fmla="*/ 8645904 w 11905939"/>
              <a:gd name="connsiteY5" fmla="*/ 2671639 h 3610248"/>
              <a:gd name="connsiteX6" fmla="*/ 8645904 w 11905939"/>
              <a:gd name="connsiteY6" fmla="*/ 2234317 h 3610248"/>
              <a:gd name="connsiteX7" fmla="*/ 8844686 w 11905939"/>
              <a:gd name="connsiteY7" fmla="*/ 2234317 h 3610248"/>
              <a:gd name="connsiteX8" fmla="*/ 8844686 w 11905939"/>
              <a:gd name="connsiteY8" fmla="*/ 135173 h 3610248"/>
              <a:gd name="connsiteX9" fmla="*/ 9138885 w 11905939"/>
              <a:gd name="connsiteY9" fmla="*/ 135173 h 3610248"/>
              <a:gd name="connsiteX10" fmla="*/ 9138885 w 11905939"/>
              <a:gd name="connsiteY10" fmla="*/ 0 h 3610248"/>
              <a:gd name="connsiteX11" fmla="*/ 9520547 w 11905939"/>
              <a:gd name="connsiteY11" fmla="*/ 0 h 3610248"/>
              <a:gd name="connsiteX12" fmla="*/ 9520547 w 11905939"/>
              <a:gd name="connsiteY12" fmla="*/ 3307743 h 3610248"/>
              <a:gd name="connsiteX13" fmla="*/ 11905939 w 11905939"/>
              <a:gd name="connsiteY13" fmla="*/ 3307743 h 36102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1905939" h="3610248">
                <a:moveTo>
                  <a:pt x="0" y="3299792"/>
                </a:moveTo>
                <a:lnTo>
                  <a:pt x="6456624" y="3299792"/>
                </a:lnTo>
                <a:cubicBezTo>
                  <a:pt x="6457801" y="3403159"/>
                  <a:pt x="6455091" y="3506881"/>
                  <a:pt x="6456268" y="3610248"/>
                </a:cubicBezTo>
                <a:lnTo>
                  <a:pt x="8089312" y="3609893"/>
                </a:lnTo>
                <a:lnTo>
                  <a:pt x="8089312" y="2671639"/>
                </a:lnTo>
                <a:lnTo>
                  <a:pt x="8645904" y="2671639"/>
                </a:lnTo>
                <a:lnTo>
                  <a:pt x="8645904" y="2234317"/>
                </a:lnTo>
                <a:lnTo>
                  <a:pt x="8844686" y="2234317"/>
                </a:lnTo>
                <a:lnTo>
                  <a:pt x="8844686" y="135173"/>
                </a:lnTo>
                <a:lnTo>
                  <a:pt x="9138885" y="135173"/>
                </a:lnTo>
                <a:lnTo>
                  <a:pt x="9138885" y="0"/>
                </a:lnTo>
                <a:lnTo>
                  <a:pt x="9520547" y="0"/>
                </a:lnTo>
                <a:lnTo>
                  <a:pt x="9520547" y="3307743"/>
                </a:lnTo>
                <a:lnTo>
                  <a:pt x="11905939" y="3307743"/>
                </a:lnTo>
              </a:path>
            </a:pathLst>
          </a:custGeom>
          <a:noFill/>
          <a:ln w="44450">
            <a:solidFill>
              <a:srgbClr val="FFC4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800" b="1">
              <a:solidFill>
                <a:srgbClr val="FFFFFF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466" y="514351"/>
            <a:ext cx="139513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392794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long_powerstrips.gif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0" y="6324620"/>
            <a:ext cx="8686800" cy="403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Freeform 33"/>
          <p:cNvSpPr>
            <a:spLocks/>
          </p:cNvSpPr>
          <p:nvPr/>
        </p:nvSpPr>
        <p:spPr bwMode="auto">
          <a:xfrm>
            <a:off x="228600" y="228600"/>
            <a:ext cx="8686800" cy="5943600"/>
          </a:xfrm>
          <a:custGeom>
            <a:avLst/>
            <a:gdLst>
              <a:gd name="T0" fmla="*/ 0 w 5376"/>
              <a:gd name="T1" fmla="*/ 0 h 3474"/>
              <a:gd name="T2" fmla="*/ 0 w 5376"/>
              <a:gd name="T3" fmla="*/ 2147483647 h 3474"/>
              <a:gd name="T4" fmla="*/ 2147483647 w 5376"/>
              <a:gd name="T5" fmla="*/ 2147483647 h 3474"/>
              <a:gd name="T6" fmla="*/ 2147483647 w 5376"/>
              <a:gd name="T7" fmla="*/ 2147483647 h 3474"/>
              <a:gd name="T8" fmla="*/ 2147483647 w 5376"/>
              <a:gd name="T9" fmla="*/ 2147483647 h 3474"/>
              <a:gd name="T10" fmla="*/ 2147483647 w 5376"/>
              <a:gd name="T11" fmla="*/ 2147483647 h 3474"/>
              <a:gd name="T12" fmla="*/ 2147483647 w 5376"/>
              <a:gd name="T13" fmla="*/ 0 h 3474"/>
              <a:gd name="T14" fmla="*/ 0 w 5376"/>
              <a:gd name="T15" fmla="*/ 0 h 3474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5376" h="3474">
                <a:moveTo>
                  <a:pt x="0" y="0"/>
                </a:moveTo>
                <a:lnTo>
                  <a:pt x="0" y="3474"/>
                </a:lnTo>
                <a:lnTo>
                  <a:pt x="941" y="3474"/>
                </a:lnTo>
                <a:lnTo>
                  <a:pt x="1081" y="3474"/>
                </a:lnTo>
                <a:lnTo>
                  <a:pt x="1210" y="3474"/>
                </a:lnTo>
                <a:lnTo>
                  <a:pt x="5376" y="3474"/>
                </a:lnTo>
                <a:lnTo>
                  <a:pt x="5376" y="0"/>
                </a:lnTo>
                <a:lnTo>
                  <a:pt x="0" y="0"/>
                </a:lnTo>
                <a:close/>
              </a:path>
            </a:pathLst>
          </a:custGeom>
          <a:solidFill>
            <a:srgbClr val="260F54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800" b="1">
              <a:solidFill>
                <a:srgbClr val="0079C1"/>
              </a:solidFill>
              <a:cs typeface="Arial" pitchFamily="34" charset="0"/>
            </a:endParaRPr>
          </a:p>
        </p:txBody>
      </p:sp>
      <p:sp>
        <p:nvSpPr>
          <p:cNvPr id="6" name="Line 36"/>
          <p:cNvSpPr>
            <a:spLocks noChangeShapeType="1"/>
          </p:cNvSpPr>
          <p:nvPr/>
        </p:nvSpPr>
        <p:spPr bwMode="auto">
          <a:xfrm flipH="1" flipV="1">
            <a:off x="685800" y="2971800"/>
            <a:ext cx="457200" cy="34290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800" b="1">
              <a:solidFill>
                <a:srgbClr val="0079C1"/>
              </a:solidFill>
              <a:cs typeface="Arial" pitchFamily="34" charset="0"/>
            </a:endParaRPr>
          </a:p>
        </p:txBody>
      </p:sp>
      <p:sp>
        <p:nvSpPr>
          <p:cNvPr id="7" name="Line 39"/>
          <p:cNvSpPr>
            <a:spLocks noChangeShapeType="1"/>
          </p:cNvSpPr>
          <p:nvPr/>
        </p:nvSpPr>
        <p:spPr bwMode="auto">
          <a:xfrm>
            <a:off x="2400300" y="4343400"/>
            <a:ext cx="457200" cy="34290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800" b="1">
              <a:solidFill>
                <a:srgbClr val="0079C1"/>
              </a:solidFill>
              <a:cs typeface="Arial" pitchFamily="34" charset="0"/>
            </a:endParaRPr>
          </a:p>
        </p:txBody>
      </p:sp>
      <p:sp>
        <p:nvSpPr>
          <p:cNvPr id="8" name="Line 40"/>
          <p:cNvSpPr>
            <a:spLocks noChangeShapeType="1"/>
          </p:cNvSpPr>
          <p:nvPr/>
        </p:nvSpPr>
        <p:spPr bwMode="auto">
          <a:xfrm flipH="1">
            <a:off x="685800" y="4343400"/>
            <a:ext cx="457200" cy="34290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800" b="1">
              <a:solidFill>
                <a:srgbClr val="0079C1"/>
              </a:solidFill>
              <a:cs typeface="Arial" pitchFamily="34" charset="0"/>
            </a:endParaRPr>
          </a:p>
        </p:txBody>
      </p:sp>
      <p:sp>
        <p:nvSpPr>
          <p:cNvPr id="9" name="Line 41"/>
          <p:cNvSpPr>
            <a:spLocks noChangeShapeType="1"/>
          </p:cNvSpPr>
          <p:nvPr/>
        </p:nvSpPr>
        <p:spPr bwMode="auto">
          <a:xfrm flipV="1">
            <a:off x="2400300" y="2971800"/>
            <a:ext cx="457200" cy="34290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800" b="1">
              <a:solidFill>
                <a:srgbClr val="0079C1"/>
              </a:solidFill>
              <a:cs typeface="Arial" pitchFamily="34" charset="0"/>
            </a:endParaRPr>
          </a:p>
        </p:txBody>
      </p:sp>
      <p:sp>
        <p:nvSpPr>
          <p:cNvPr id="10" name="Text Box 7"/>
          <p:cNvSpPr txBox="1">
            <a:spLocks noChangeArrowheads="1"/>
          </p:cNvSpPr>
          <p:nvPr/>
        </p:nvSpPr>
        <p:spPr bwMode="auto">
          <a:xfrm>
            <a:off x="1028710" y="3216282"/>
            <a:ext cx="1439863" cy="125291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8000" tIns="10800" rIns="18000" bIns="10800">
            <a:spAutoFit/>
          </a:bodyPr>
          <a:lstStyle>
            <a:lvl1pPr eaLnBrk="0" hangingPunct="0">
              <a:defRPr sz="2800" b="1">
                <a:solidFill>
                  <a:srgbClr val="0079C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800" b="1">
                <a:solidFill>
                  <a:srgbClr val="0079C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800" b="1">
                <a:solidFill>
                  <a:srgbClr val="0079C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800" b="1">
                <a:solidFill>
                  <a:srgbClr val="0079C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800" b="1">
                <a:solidFill>
                  <a:srgbClr val="0079C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9C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9C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9C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9C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>
                <a:solidFill>
                  <a:srgbClr val="000000"/>
                </a:solidFill>
                <a:cs typeface="Arial" pitchFamily="34" charset="0"/>
              </a:rPr>
              <a:t>Place your chosen image here. The four corners must just cover the arrow tips. For covers, the three pictures should be the same size and in a straight line.   </a:t>
            </a:r>
            <a:endParaRPr lang="en-US">
              <a:cs typeface="Arial" pitchFamily="34" charset="0"/>
            </a:endParaRPr>
          </a:p>
        </p:txBody>
      </p:sp>
      <p:pic>
        <p:nvPicPr>
          <p:cNvPr id="11" name="Picture 48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5600" y="457206"/>
            <a:ext cx="1955800" cy="739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3022" name="Rectangle 14"/>
          <p:cNvSpPr>
            <a:spLocks noGrp="1" noChangeArrowheads="1"/>
          </p:cNvSpPr>
          <p:nvPr>
            <p:ph type="ctrTitle" sz="quarter"/>
          </p:nvPr>
        </p:nvSpPr>
        <p:spPr>
          <a:xfrm>
            <a:off x="609603" y="1810872"/>
            <a:ext cx="8043863" cy="523220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>
              <a:defRPr/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43023" name="Rectangle 15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571503" y="5164158"/>
            <a:ext cx="8043863" cy="503237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marL="0" indent="0">
              <a:spcBef>
                <a:spcPct val="20000"/>
              </a:spcBef>
              <a:spcAft>
                <a:spcPct val="0"/>
              </a:spcAft>
              <a:buFont typeface="Wingdings" pitchFamily="2" charset="2"/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7760124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C2F38BB-9649-430D-B19A-4D135FF5B35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283334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10"/>
            <a:ext cx="7772400" cy="1323439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F236BA53-BDA4-4E75-AFFA-1F9B94AE3DA8}" type="datetime1">
              <a:rPr lang="en-US" sz="2800" b="1">
                <a:solidFill>
                  <a:srgbClr val="0079C1"/>
                </a:solidFill>
                <a:cs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9/12/2018</a:t>
            </a:fld>
            <a:endParaRPr lang="en-US" sz="2800" b="1">
              <a:solidFill>
                <a:srgbClr val="0079C1"/>
              </a:solidFill>
              <a:cs typeface="Arial" pitchFamily="34" charset="0"/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800" b="1">
              <a:solidFill>
                <a:srgbClr val="0079C1"/>
              </a:solidFill>
              <a:cs typeface="Arial" pitchFamily="34" charset="0"/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EBCA1E5-ABE7-41F3-9539-8625106F1DB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583075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93725" y="1066800"/>
            <a:ext cx="3968750" cy="50673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14876" y="1066800"/>
            <a:ext cx="3968750" cy="50673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A03CA8E-EE80-42F9-9AB7-ED3F927996F7}" type="datetime1">
              <a:rPr lang="en-US" sz="2800" b="1">
                <a:solidFill>
                  <a:srgbClr val="0079C1"/>
                </a:solidFill>
                <a:cs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9/12/2018</a:t>
            </a:fld>
            <a:endParaRPr lang="en-US" sz="2800" b="1">
              <a:solidFill>
                <a:srgbClr val="0079C1"/>
              </a:solidFill>
              <a:cs typeface="Arial" pitchFamily="34" charset="0"/>
            </a:endParaRPr>
          </a:p>
        </p:txBody>
      </p:sp>
      <p:sp>
        <p:nvSpPr>
          <p:cNvPr id="6" name="Footer Placeholder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800" b="1">
              <a:solidFill>
                <a:srgbClr val="0079C1"/>
              </a:solidFill>
              <a:cs typeface="Arial" pitchFamily="34" charset="0"/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9F43D26-232A-4057-9F41-D1F5FD91993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167534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53" name="Rectangle 45"/>
          <p:cNvSpPr>
            <a:spLocks noChangeArrowheads="1"/>
          </p:cNvSpPr>
          <p:nvPr userDrawn="1"/>
        </p:nvSpPr>
        <p:spPr bwMode="auto">
          <a:xfrm>
            <a:off x="228600" y="228600"/>
            <a:ext cx="8686800" cy="5715000"/>
          </a:xfrm>
          <a:prstGeom prst="rect">
            <a:avLst/>
          </a:prstGeom>
          <a:solidFill>
            <a:srgbClr val="1D1757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800" b="1" dirty="0">
              <a:solidFill>
                <a:srgbClr val="1D1757"/>
              </a:solidFill>
            </a:endParaRPr>
          </a:p>
        </p:txBody>
      </p:sp>
      <p:sp>
        <p:nvSpPr>
          <p:cNvPr id="43054" name="Rectangle 46"/>
          <p:cNvSpPr>
            <a:spLocks noGrp="1" noChangeArrowheads="1"/>
          </p:cNvSpPr>
          <p:nvPr>
            <p:ph type="ctrTitle" sz="quarter"/>
          </p:nvPr>
        </p:nvSpPr>
        <p:spPr>
          <a:xfrm>
            <a:off x="593726" y="1820863"/>
            <a:ext cx="7940675" cy="519112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/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pic>
        <p:nvPicPr>
          <p:cNvPr id="43057" name="Picture 49" descr="PPT_bars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300" y="6057902"/>
            <a:ext cx="8915400" cy="612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3084" name="Rectangle 76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590550" y="5029202"/>
            <a:ext cx="7943850" cy="396875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marL="0" indent="0">
              <a:spcBef>
                <a:spcPct val="20000"/>
              </a:spcBef>
              <a:spcAft>
                <a:spcPct val="0"/>
              </a:spcAft>
              <a:buFont typeface="Wingdings" pitchFamily="2" charset="2"/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pic>
        <p:nvPicPr>
          <p:cNvPr id="7" name="Picture 49" descr="NG_HWHFY_PMS300"/>
          <p:cNvPicPr>
            <a:picLocks noChangeAspect="1" noChangeArrowheads="1"/>
          </p:cNvPicPr>
          <p:nvPr userDrawn="1"/>
        </p:nvPicPr>
        <p:blipFill>
          <a:blip r:embed="rId3" cstate="print">
            <a:lum bright="10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6576" y="609602"/>
            <a:ext cx="1724025" cy="5127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9185160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7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55798793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0758191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2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337649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256346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DB7FC722-324C-411A-A5B7-1F74F5A22C1F}" type="datetimeFigureOut">
              <a:rPr lang="en-US" smtClean="0">
                <a:solidFill>
                  <a:prstClr val="black"/>
                </a:solidFill>
                <a:cs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9/12/2018</a:t>
            </a:fld>
            <a:endParaRPr lang="en-US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781800" y="6381750"/>
            <a:ext cx="2133600" cy="3619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EE674DD8-6B7C-4EAC-94F9-FC9387B7A482}" type="slidenum">
              <a:rPr lang="en-US" smtClean="0">
                <a:solidFill>
                  <a:prstClr val="black"/>
                </a:solidFill>
                <a:cs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prstClr val="black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2960668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914400"/>
            <a:ext cx="4038600" cy="5181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914400"/>
            <a:ext cx="4038600" cy="5181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9038135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40783491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9639021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8778772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1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0171857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1700323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509094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152400"/>
            <a:ext cx="2057400" cy="59436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52400"/>
            <a:ext cx="6019800" cy="59436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4400955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>
          <a:xfrm>
            <a:off x="457200" y="152400"/>
            <a:ext cx="6096000" cy="6096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457200" y="914400"/>
            <a:ext cx="4038600" cy="2514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914400"/>
            <a:ext cx="4038600" cy="2514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57200" y="3581400"/>
            <a:ext cx="4038600" cy="2514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8200" y="3581400"/>
            <a:ext cx="4038600" cy="2514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9176184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52400"/>
            <a:ext cx="6096000" cy="6096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57200" y="914400"/>
            <a:ext cx="8229600" cy="51816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554695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52400"/>
            <a:ext cx="6096000" cy="6096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57200" y="914400"/>
            <a:ext cx="4038600" cy="5181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914400"/>
            <a:ext cx="4038600" cy="5181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51553457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52400"/>
            <a:ext cx="6096000" cy="6096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57200" y="914400"/>
            <a:ext cx="4038600" cy="5181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914400"/>
            <a:ext cx="4038600" cy="5181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27376390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53" name="Rectangle 45"/>
          <p:cNvSpPr>
            <a:spLocks noChangeArrowheads="1"/>
          </p:cNvSpPr>
          <p:nvPr userDrawn="1"/>
        </p:nvSpPr>
        <p:spPr bwMode="auto">
          <a:xfrm>
            <a:off x="228600" y="228600"/>
            <a:ext cx="8686800" cy="5715000"/>
          </a:xfrm>
          <a:prstGeom prst="rect">
            <a:avLst/>
          </a:prstGeom>
          <a:solidFill>
            <a:srgbClr val="1D1757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800" b="1" dirty="0">
              <a:solidFill>
                <a:srgbClr val="1D1757"/>
              </a:solidFill>
            </a:endParaRPr>
          </a:p>
        </p:txBody>
      </p:sp>
      <p:sp>
        <p:nvSpPr>
          <p:cNvPr id="43054" name="Rectangle 46"/>
          <p:cNvSpPr>
            <a:spLocks noGrp="1" noChangeArrowheads="1"/>
          </p:cNvSpPr>
          <p:nvPr>
            <p:ph type="ctrTitle" sz="quarter"/>
          </p:nvPr>
        </p:nvSpPr>
        <p:spPr>
          <a:xfrm>
            <a:off x="593725" y="1820863"/>
            <a:ext cx="7940675" cy="519112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/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pic>
        <p:nvPicPr>
          <p:cNvPr id="43057" name="Picture 49" descr="PPT_bars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300" y="6057900"/>
            <a:ext cx="8915400" cy="612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3084" name="Rectangle 76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590550" y="5029200"/>
            <a:ext cx="7943850" cy="396875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marL="0" indent="0">
              <a:spcBef>
                <a:spcPct val="20000"/>
              </a:spcBef>
              <a:spcAft>
                <a:spcPct val="0"/>
              </a:spcAft>
              <a:buFont typeface="Wingdings" pitchFamily="2" charset="2"/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pic>
        <p:nvPicPr>
          <p:cNvPr id="7" name="Picture 49" descr="NG_HWHFY_PMS300"/>
          <p:cNvPicPr>
            <a:picLocks noChangeAspect="1" noChangeArrowheads="1"/>
          </p:cNvPicPr>
          <p:nvPr userDrawn="1"/>
        </p:nvPicPr>
        <p:blipFill>
          <a:blip r:embed="rId3" cstate="print">
            <a:lum bright="10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6575" y="609600"/>
            <a:ext cx="1724025" cy="5127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32883439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647801608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85755611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21847055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914400"/>
            <a:ext cx="4038600" cy="5181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914400"/>
            <a:ext cx="4038600" cy="5181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7956373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7889919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26219930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74875502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0626388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5"/>
          <p:cNvSpPr>
            <a:spLocks noChangeArrowheads="1"/>
          </p:cNvSpPr>
          <p:nvPr userDrawn="1"/>
        </p:nvSpPr>
        <p:spPr bwMode="auto">
          <a:xfrm>
            <a:off x="228600" y="228600"/>
            <a:ext cx="8686800" cy="5715000"/>
          </a:xfrm>
          <a:prstGeom prst="rect">
            <a:avLst/>
          </a:prstGeom>
          <a:solidFill>
            <a:srgbClr val="1D1757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800" b="1" dirty="0">
              <a:solidFill>
                <a:srgbClr val="1D1757"/>
              </a:solidFill>
              <a:cs typeface="Arial" pitchFamily="34" charset="0"/>
            </a:endParaRPr>
          </a:p>
        </p:txBody>
      </p:sp>
      <p:pic>
        <p:nvPicPr>
          <p:cNvPr id="5" name="Picture 49" descr="PPT_bars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300" y="6057900"/>
            <a:ext cx="8915400" cy="612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9" descr="NG_HWHFY_PMS300"/>
          <p:cNvPicPr>
            <a:picLocks noChangeAspect="1" noChangeArrowheads="1"/>
          </p:cNvPicPr>
          <p:nvPr userDrawn="1"/>
        </p:nvPicPr>
        <p:blipFill>
          <a:blip r:embed="rId3" cstate="print">
            <a:lum bright="10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6575" y="609600"/>
            <a:ext cx="1724025" cy="512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3054" name="Rectangle 46"/>
          <p:cNvSpPr>
            <a:spLocks noGrp="1" noChangeArrowheads="1"/>
          </p:cNvSpPr>
          <p:nvPr>
            <p:ph type="ctrTitle" sz="quarter"/>
          </p:nvPr>
        </p:nvSpPr>
        <p:spPr>
          <a:xfrm>
            <a:off x="593725" y="1820863"/>
            <a:ext cx="7940675" cy="519112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43084" name="Rectangle 76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590550" y="5029200"/>
            <a:ext cx="7943850" cy="396875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marL="0" indent="0">
              <a:spcBef>
                <a:spcPct val="20000"/>
              </a:spcBef>
              <a:spcAft>
                <a:spcPct val="0"/>
              </a:spcAft>
              <a:buFont typeface="Wingdings" pitchFamily="2" charset="2"/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43140362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57828024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8692159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152400"/>
            <a:ext cx="2057400" cy="59436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52400"/>
            <a:ext cx="6019800" cy="59436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14856483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>
          <a:xfrm>
            <a:off x="457200" y="152400"/>
            <a:ext cx="6096000" cy="6096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457200" y="914400"/>
            <a:ext cx="4038600" cy="2514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914400"/>
            <a:ext cx="4038600" cy="2514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57200" y="3581400"/>
            <a:ext cx="4038600" cy="2514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8200" y="3581400"/>
            <a:ext cx="4038600" cy="2514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3966706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52400"/>
            <a:ext cx="6096000" cy="6096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57200" y="914400"/>
            <a:ext cx="8229600" cy="518160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2101677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52400"/>
            <a:ext cx="6096000" cy="6096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57200" y="914400"/>
            <a:ext cx="4038600" cy="5181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914400"/>
            <a:ext cx="4038600" cy="5181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4721541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rgbClr val="0079C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2"/>
          <p:cNvSpPr>
            <a:spLocks/>
          </p:cNvSpPr>
          <p:nvPr/>
        </p:nvSpPr>
        <p:spPr bwMode="auto">
          <a:xfrm>
            <a:off x="0" y="0"/>
            <a:ext cx="9159875" cy="2400300"/>
          </a:xfrm>
          <a:custGeom>
            <a:avLst/>
            <a:gdLst>
              <a:gd name="T0" fmla="*/ 0 w 5760"/>
              <a:gd name="T1" fmla="*/ 0 h 1512"/>
              <a:gd name="T2" fmla="*/ 0 w 5760"/>
              <a:gd name="T3" fmla="*/ 2147483647 h 1512"/>
              <a:gd name="T4" fmla="*/ 2147483647 w 5760"/>
              <a:gd name="T5" fmla="*/ 2147483647 h 1512"/>
              <a:gd name="T6" fmla="*/ 2147483647 w 5760"/>
              <a:gd name="T7" fmla="*/ 2147483647 h 1512"/>
              <a:gd name="T8" fmla="*/ 2147483647 w 5760"/>
              <a:gd name="T9" fmla="*/ 2147483647 h 1512"/>
              <a:gd name="T10" fmla="*/ 2147483647 w 5760"/>
              <a:gd name="T11" fmla="*/ 2147483647 h 1512"/>
              <a:gd name="T12" fmla="*/ 2147483647 w 5760"/>
              <a:gd name="T13" fmla="*/ 0 h 1512"/>
              <a:gd name="T14" fmla="*/ 0 w 5760"/>
              <a:gd name="T15" fmla="*/ 0 h 1512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5760" h="1512">
                <a:moveTo>
                  <a:pt x="0" y="0"/>
                </a:moveTo>
                <a:lnTo>
                  <a:pt x="0" y="1368"/>
                </a:lnTo>
                <a:lnTo>
                  <a:pt x="1008" y="1368"/>
                </a:lnTo>
                <a:lnTo>
                  <a:pt x="1152" y="1512"/>
                </a:lnTo>
                <a:lnTo>
                  <a:pt x="1296" y="1368"/>
                </a:lnTo>
                <a:lnTo>
                  <a:pt x="5760" y="1368"/>
                </a:lnTo>
                <a:lnTo>
                  <a:pt x="576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 sz="3200">
              <a:solidFill>
                <a:srgbClr val="1F497D"/>
              </a:solidFill>
            </a:endParaRPr>
          </a:p>
        </p:txBody>
      </p:sp>
      <p:sp>
        <p:nvSpPr>
          <p:cNvPr id="5" name="Line 5"/>
          <p:cNvSpPr>
            <a:spLocks noChangeShapeType="1"/>
          </p:cNvSpPr>
          <p:nvPr/>
        </p:nvSpPr>
        <p:spPr bwMode="auto">
          <a:xfrm flipH="1" flipV="1">
            <a:off x="685800" y="2971800"/>
            <a:ext cx="457200" cy="34290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 sz="3200">
              <a:solidFill>
                <a:srgbClr val="1F497D"/>
              </a:solidFill>
            </a:endParaRPr>
          </a:p>
        </p:txBody>
      </p:sp>
      <p:sp>
        <p:nvSpPr>
          <p:cNvPr id="6" name="Line 6"/>
          <p:cNvSpPr>
            <a:spLocks noChangeShapeType="1"/>
          </p:cNvSpPr>
          <p:nvPr/>
        </p:nvSpPr>
        <p:spPr bwMode="auto">
          <a:xfrm>
            <a:off x="2400300" y="4343400"/>
            <a:ext cx="457200" cy="34290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 sz="3200">
              <a:solidFill>
                <a:srgbClr val="1F497D"/>
              </a:solidFill>
            </a:endParaRPr>
          </a:p>
        </p:txBody>
      </p:sp>
      <p:sp>
        <p:nvSpPr>
          <p:cNvPr id="7" name="Line 7"/>
          <p:cNvSpPr>
            <a:spLocks noChangeShapeType="1"/>
          </p:cNvSpPr>
          <p:nvPr/>
        </p:nvSpPr>
        <p:spPr bwMode="auto">
          <a:xfrm flipH="1">
            <a:off x="685800" y="4343400"/>
            <a:ext cx="457200" cy="34290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 sz="3200">
              <a:solidFill>
                <a:srgbClr val="1F497D"/>
              </a:solidFill>
            </a:endParaRPr>
          </a:p>
        </p:txBody>
      </p:sp>
      <p:sp>
        <p:nvSpPr>
          <p:cNvPr id="8" name="Line 8"/>
          <p:cNvSpPr>
            <a:spLocks noChangeShapeType="1"/>
          </p:cNvSpPr>
          <p:nvPr/>
        </p:nvSpPr>
        <p:spPr bwMode="auto">
          <a:xfrm flipV="1">
            <a:off x="2400300" y="2971800"/>
            <a:ext cx="457200" cy="34290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 sz="3200">
              <a:solidFill>
                <a:srgbClr val="1F497D"/>
              </a:solidFill>
            </a:endParaRPr>
          </a:p>
        </p:txBody>
      </p:sp>
      <p:sp>
        <p:nvSpPr>
          <p:cNvPr id="9" name="Text Box 7"/>
          <p:cNvSpPr txBox="1">
            <a:spLocks noChangeArrowheads="1"/>
          </p:cNvSpPr>
          <p:nvPr/>
        </p:nvSpPr>
        <p:spPr bwMode="auto">
          <a:xfrm>
            <a:off x="1028700" y="3216281"/>
            <a:ext cx="1439863" cy="125291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8000" tIns="10800" rIns="18000" bIns="10800">
            <a:spAutoFit/>
          </a:bodyPr>
          <a:lstStyle>
            <a:lvl1pPr eaLnBrk="0" hangingPunct="0">
              <a:defRPr sz="3200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3200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3200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3200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3200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2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000" b="1">
                <a:solidFill>
                  <a:srgbClr val="1F497D"/>
                </a:solidFill>
              </a:rPr>
              <a:t>Place your chosen image here. The four corners must just cover the arrow tips. For covers, the three pictures should be the same size and in a straight line.   </a:t>
            </a:r>
            <a:endParaRPr lang="en-GB" sz="2800" b="1">
              <a:solidFill>
                <a:srgbClr val="0079C1"/>
              </a:solidFill>
            </a:endParaRPr>
          </a:p>
        </p:txBody>
      </p:sp>
      <p:pic>
        <p:nvPicPr>
          <p:cNvPr id="10" name="Picture 10" descr="National_Grid_logo_blue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0375" y="342900"/>
            <a:ext cx="1830388" cy="376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89827" name="Rectangle 3"/>
          <p:cNvSpPr>
            <a:spLocks noGrp="1" noChangeArrowheads="1"/>
          </p:cNvSpPr>
          <p:nvPr>
            <p:ph type="ctrTitle" sz="quarter"/>
          </p:nvPr>
        </p:nvSpPr>
        <p:spPr>
          <a:xfrm>
            <a:off x="593728" y="1414741"/>
            <a:ext cx="8043863" cy="369332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>
              <a:defRPr/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589828" name="Rectangle 4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571503" y="5164144"/>
            <a:ext cx="8043863" cy="503237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marL="0" indent="0">
              <a:spcBef>
                <a:spcPct val="20000"/>
              </a:spcBef>
              <a:spcAft>
                <a:spcPct val="0"/>
              </a:spcAft>
              <a:buFont typeface="Wingdings" pitchFamily="2" charset="2"/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108641845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3728" y="911781"/>
            <a:ext cx="8093075" cy="369332"/>
          </a:xfrm>
        </p:spPr>
        <p:txBody>
          <a:bodyPr/>
          <a:lstStyle>
            <a:lvl1pPr>
              <a:defRPr sz="1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C4AEDA9-12D8-4130-8F88-A6FC518CF1D6}" type="datetime1">
              <a:rPr lang="en-US" smtClean="0"/>
              <a:pPr>
                <a:defRPr/>
              </a:pPr>
              <a:t>9/12/2018</a:t>
            </a:fld>
            <a:endParaRPr 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907AF93-6730-4552-9664-20D6715AD062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031183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6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7FFEBAA-BC55-4723-A125-A698FFEA1C77}" type="datetime1">
              <a:rPr lang="en-US" smtClean="0"/>
              <a:pPr>
                <a:defRPr/>
              </a:pPr>
              <a:t>9/12/2018</a:t>
            </a:fld>
            <a:endParaRPr 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042905C-D0DB-43F7-9688-522A33BFA446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2528299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93725" y="1485900"/>
            <a:ext cx="3968750" cy="46482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14875" y="1485900"/>
            <a:ext cx="3968750" cy="46482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E563DFD-0D06-43A6-BAB7-9F1260AF4C49}" type="datetime1">
              <a:rPr lang="en-US" smtClean="0"/>
              <a:pPr>
                <a:defRPr/>
              </a:pPr>
              <a:t>9/12/2018</a:t>
            </a:fld>
            <a:endParaRPr lang="en-US"/>
          </a:p>
        </p:txBody>
      </p:sp>
      <p:sp>
        <p:nvSpPr>
          <p:cNvPr id="6" name="Rectangle 3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E131DA6-3CF0-4C2C-9ECB-F50E741716A9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68797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49461606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048306"/>
            <a:ext cx="822960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8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8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1C99C85-6812-48F5-90E2-3DC4D770BF6A}" type="datetime1">
              <a:rPr lang="en-US" smtClean="0"/>
              <a:pPr>
                <a:defRPr/>
              </a:pPr>
              <a:t>9/12/2018</a:t>
            </a:fld>
            <a:endParaRPr lang="en-US"/>
          </a:p>
        </p:txBody>
      </p:sp>
      <p:sp>
        <p:nvSpPr>
          <p:cNvPr id="8" name="Rectangle 3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Rectangle 4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2F535FC-BACB-4EA5-A844-22A39534D969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9177099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0B7C7D4-E588-408C-BC62-D6EDFC440CA8}" type="datetime1">
              <a:rPr lang="en-US" smtClean="0"/>
              <a:pPr>
                <a:defRPr/>
              </a:pPr>
              <a:t>9/12/2018</a:t>
            </a:fld>
            <a:endParaRPr 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E0D6919-352B-4DA6-85B5-E791ABD235F4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6108361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C15A39B-9E60-4004-BDE2-9DB2CE0C4A66}" type="datetime1">
              <a:rPr lang="en-US" smtClean="0"/>
              <a:pPr>
                <a:defRPr/>
              </a:pPr>
              <a:t>9/12/2018</a:t>
            </a:fld>
            <a:endParaRPr 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F2B0911-BC62-4128-B0BB-FA96D7936503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6653008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727214"/>
            <a:ext cx="3008313" cy="707886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1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F9CA19A-49A4-4BA3-A7D2-289E3866F372}" type="datetime1">
              <a:rPr lang="en-US" smtClean="0"/>
              <a:pPr>
                <a:defRPr/>
              </a:pPr>
              <a:t>9/12/2018</a:t>
            </a:fld>
            <a:endParaRPr lang="en-US"/>
          </a:p>
        </p:txBody>
      </p:sp>
      <p:sp>
        <p:nvSpPr>
          <p:cNvPr id="6" name="Rectangle 3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8E1B160-C706-47ED-B9A2-D4CABE6E9D06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9335140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967228"/>
            <a:ext cx="5486400" cy="40011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A4292BC-3E97-49B4-ACAA-C4DA18F94D75}" type="datetime1">
              <a:rPr lang="en-US" smtClean="0"/>
              <a:pPr>
                <a:defRPr/>
              </a:pPr>
              <a:t>9/12/2018</a:t>
            </a:fld>
            <a:endParaRPr lang="en-US"/>
          </a:p>
        </p:txBody>
      </p:sp>
      <p:sp>
        <p:nvSpPr>
          <p:cNvPr id="6" name="Rectangle 3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06880E7-572E-48DF-8AF9-204EDCF5E35B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4477055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4C9B35C-C393-42C6-A7D6-075A8D849DD8}" type="datetime1">
              <a:rPr lang="en-US" smtClean="0"/>
              <a:pPr>
                <a:defRPr/>
              </a:pPr>
              <a:t>9/12/2018</a:t>
            </a:fld>
            <a:endParaRPr 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EE91322-964C-4DBC-AEB7-A86A1C671A4E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7839948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64328" y="762000"/>
            <a:ext cx="461665" cy="53721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93725" y="762000"/>
            <a:ext cx="5918200" cy="53721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AFC6DD1-C446-44DB-A704-2EF22C531BD0}" type="datetime1">
              <a:rPr lang="en-US" smtClean="0"/>
              <a:pPr>
                <a:defRPr/>
              </a:pPr>
              <a:t>9/12/2018</a:t>
            </a:fld>
            <a:endParaRPr 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FE3C73D-ABA6-4164-A278-F160FEBB8BF0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3181495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3728" y="911781"/>
            <a:ext cx="8093075" cy="36933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93725" y="1485900"/>
            <a:ext cx="3968750" cy="4648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14875" y="1485900"/>
            <a:ext cx="3968750" cy="4648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D753E9B-50A2-48A6-8031-E7C983170868}" type="datetime1">
              <a:rPr lang="en-US" smtClean="0"/>
              <a:pPr>
                <a:defRPr/>
              </a:pPr>
              <a:t>9/12/2018</a:t>
            </a:fld>
            <a:endParaRPr lang="en-US"/>
          </a:p>
        </p:txBody>
      </p:sp>
      <p:sp>
        <p:nvSpPr>
          <p:cNvPr id="6" name="Rectangle 3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082B54C-5B39-4FE2-8AB6-B2EEA3164ED5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1022458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593728" y="762000"/>
            <a:ext cx="8093075" cy="53721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Rectangle 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96F3B17-AF0E-4668-8960-5C7ADCB19D9F}" type="datetime1">
              <a:rPr lang="en-US" smtClean="0"/>
              <a:pPr>
                <a:defRPr/>
              </a:pPr>
              <a:t>9/12/2018</a:t>
            </a:fld>
            <a:endParaRPr 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D301461-D6B2-43B7-A46B-4BAF78BA2EEF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6272497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3728" y="911781"/>
            <a:ext cx="8093075" cy="3693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593725" y="1485900"/>
            <a:ext cx="8089900" cy="4648200"/>
          </a:xfrm>
        </p:spPr>
        <p:txBody>
          <a:bodyPr/>
          <a:lstStyle/>
          <a:p>
            <a:pPr lvl="0"/>
            <a:r>
              <a:rPr lang="en-US" noProof="0"/>
              <a:t>Click icon to add table</a:t>
            </a:r>
            <a:endParaRPr lang="en-GB" noProof="0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98C0528-D23A-4D4A-8AE3-A2BFDB0A7791}" type="datetime1">
              <a:rPr lang="en-US" smtClean="0"/>
              <a:pPr>
                <a:defRPr/>
              </a:pPr>
              <a:t>9/12/2018</a:t>
            </a:fld>
            <a:endParaRPr 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C008097-DDF5-4513-9CF9-58D896C1C442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482039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1562105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slideLayout" Target="../slideLayouts/slideLayout19.xml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8.xml"/><Relationship Id="rId2" Type="http://schemas.openxmlformats.org/officeDocument/2006/relationships/slideLayout" Target="../slideLayouts/slideLayout8.xml"/><Relationship Id="rId16" Type="http://schemas.openxmlformats.org/officeDocument/2006/relationships/theme" Target="../theme/theme3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1.xml"/><Relationship Id="rId15" Type="http://schemas.openxmlformats.org/officeDocument/2006/relationships/slideLayout" Target="../slideLayouts/slideLayout21.xml"/><Relationship Id="rId10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Relationship Id="rId14" Type="http://schemas.openxmlformats.org/officeDocument/2006/relationships/slideLayout" Target="../slideLayouts/slideLayout20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slideLayout" Target="../slideLayouts/slideLayout34.xml"/><Relationship Id="rId3" Type="http://schemas.openxmlformats.org/officeDocument/2006/relationships/slideLayout" Target="../slideLayouts/slideLayout24.xml"/><Relationship Id="rId7" Type="http://schemas.openxmlformats.org/officeDocument/2006/relationships/slideLayout" Target="../slideLayouts/slideLayout28.xml"/><Relationship Id="rId12" Type="http://schemas.openxmlformats.org/officeDocument/2006/relationships/slideLayout" Target="../slideLayouts/slideLayout33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23.xml"/><Relationship Id="rId16" Type="http://schemas.openxmlformats.org/officeDocument/2006/relationships/theme" Target="../theme/theme4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5" Type="http://schemas.openxmlformats.org/officeDocument/2006/relationships/slideLayout" Target="../slideLayouts/slideLayout26.xml"/><Relationship Id="rId15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31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slideLayout" Target="../slideLayouts/slideLayout35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9.xml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Relationship Id="rId6" Type="http://schemas.openxmlformats.org/officeDocument/2006/relationships/image" Target="../media/image7.wmf"/><Relationship Id="rId5" Type="http://schemas.openxmlformats.org/officeDocument/2006/relationships/theme" Target="../theme/theme5.xml"/><Relationship Id="rId4" Type="http://schemas.openxmlformats.org/officeDocument/2006/relationships/slideLayout" Target="../slideLayouts/slideLayout40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3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42.xml"/><Relationship Id="rId1" Type="http://schemas.openxmlformats.org/officeDocument/2006/relationships/slideLayout" Target="../slideLayouts/slideLayout41.xml"/><Relationship Id="rId6" Type="http://schemas.openxmlformats.org/officeDocument/2006/relationships/theme" Target="../theme/theme6.xml"/><Relationship Id="rId5" Type="http://schemas.openxmlformats.org/officeDocument/2006/relationships/slideLayout" Target="../slideLayouts/slideLayout45.xml"/><Relationship Id="rId4" Type="http://schemas.openxmlformats.org/officeDocument/2006/relationships/slideLayout" Target="../slideLayouts/slideLayout44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.xml"/><Relationship Id="rId13" Type="http://schemas.openxmlformats.org/officeDocument/2006/relationships/slideLayout" Target="../slideLayouts/slideLayout58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48.xml"/><Relationship Id="rId7" Type="http://schemas.openxmlformats.org/officeDocument/2006/relationships/slideLayout" Target="../slideLayouts/slideLayout52.xml"/><Relationship Id="rId12" Type="http://schemas.openxmlformats.org/officeDocument/2006/relationships/slideLayout" Target="../slideLayouts/slideLayout57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47.xml"/><Relationship Id="rId16" Type="http://schemas.openxmlformats.org/officeDocument/2006/relationships/theme" Target="../theme/theme7.xml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11" Type="http://schemas.openxmlformats.org/officeDocument/2006/relationships/slideLayout" Target="../slideLayouts/slideLayout56.xml"/><Relationship Id="rId5" Type="http://schemas.openxmlformats.org/officeDocument/2006/relationships/slideLayout" Target="../slideLayouts/slideLayout50.xml"/><Relationship Id="rId15" Type="http://schemas.openxmlformats.org/officeDocument/2006/relationships/slideLayout" Target="../slideLayouts/slideLayout60.xml"/><Relationship Id="rId10" Type="http://schemas.openxmlformats.org/officeDocument/2006/relationships/slideLayout" Target="../slideLayouts/slideLayout55.xml"/><Relationship Id="rId4" Type="http://schemas.openxmlformats.org/officeDocument/2006/relationships/slideLayout" Target="../slideLayouts/slideLayout49.xml"/><Relationship Id="rId9" Type="http://schemas.openxmlformats.org/officeDocument/2006/relationships/slideLayout" Target="../slideLayouts/slideLayout54.xml"/><Relationship Id="rId14" Type="http://schemas.openxmlformats.org/officeDocument/2006/relationships/slideLayout" Target="../slideLayouts/slideLayout59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.xml"/><Relationship Id="rId13" Type="http://schemas.openxmlformats.org/officeDocument/2006/relationships/slideLayout" Target="../slideLayouts/slideLayout73.xml"/><Relationship Id="rId3" Type="http://schemas.openxmlformats.org/officeDocument/2006/relationships/slideLayout" Target="../slideLayouts/slideLayout63.xml"/><Relationship Id="rId7" Type="http://schemas.openxmlformats.org/officeDocument/2006/relationships/slideLayout" Target="../slideLayouts/slideLayout67.xml"/><Relationship Id="rId12" Type="http://schemas.openxmlformats.org/officeDocument/2006/relationships/slideLayout" Target="../slideLayouts/slideLayout72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62.xml"/><Relationship Id="rId16" Type="http://schemas.openxmlformats.org/officeDocument/2006/relationships/theme" Target="../theme/theme8.xml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1" Type="http://schemas.openxmlformats.org/officeDocument/2006/relationships/slideLayout" Target="../slideLayouts/slideLayout71.xml"/><Relationship Id="rId5" Type="http://schemas.openxmlformats.org/officeDocument/2006/relationships/slideLayout" Target="../slideLayouts/slideLayout65.xml"/><Relationship Id="rId15" Type="http://schemas.openxmlformats.org/officeDocument/2006/relationships/slideLayout" Target="../slideLayouts/slideLayout75.xml"/><Relationship Id="rId10" Type="http://schemas.openxmlformats.org/officeDocument/2006/relationships/slideLayout" Target="../slideLayouts/slideLayout70.xml"/><Relationship Id="rId4" Type="http://schemas.openxmlformats.org/officeDocument/2006/relationships/slideLayout" Target="../slideLayouts/slideLayout64.xml"/><Relationship Id="rId9" Type="http://schemas.openxmlformats.org/officeDocument/2006/relationships/slideLayout" Target="../slideLayouts/slideLayout69.xml"/><Relationship Id="rId14" Type="http://schemas.openxmlformats.org/officeDocument/2006/relationships/slideLayout" Target="../slideLayouts/slideLayout74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3.xml"/><Relationship Id="rId13" Type="http://schemas.openxmlformats.org/officeDocument/2006/relationships/slideLayout" Target="../slideLayouts/slideLayout88.xml"/><Relationship Id="rId18" Type="http://schemas.openxmlformats.org/officeDocument/2006/relationships/oleObject" Target="../embeddings/oleObject2.bin"/><Relationship Id="rId3" Type="http://schemas.openxmlformats.org/officeDocument/2006/relationships/slideLayout" Target="../slideLayouts/slideLayout78.xml"/><Relationship Id="rId7" Type="http://schemas.openxmlformats.org/officeDocument/2006/relationships/slideLayout" Target="../slideLayouts/slideLayout82.xml"/><Relationship Id="rId12" Type="http://schemas.openxmlformats.org/officeDocument/2006/relationships/slideLayout" Target="../slideLayouts/slideLayout87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77.xml"/><Relationship Id="rId16" Type="http://schemas.openxmlformats.org/officeDocument/2006/relationships/vmlDrawing" Target="../drawings/vmlDrawing2.vml"/><Relationship Id="rId20" Type="http://schemas.openxmlformats.org/officeDocument/2006/relationships/image" Target="../media/image7.wmf"/><Relationship Id="rId1" Type="http://schemas.openxmlformats.org/officeDocument/2006/relationships/slideLayout" Target="../slideLayouts/slideLayout76.xml"/><Relationship Id="rId6" Type="http://schemas.openxmlformats.org/officeDocument/2006/relationships/slideLayout" Target="../slideLayouts/slideLayout81.xml"/><Relationship Id="rId11" Type="http://schemas.openxmlformats.org/officeDocument/2006/relationships/slideLayout" Target="../slideLayouts/slideLayout86.xml"/><Relationship Id="rId5" Type="http://schemas.openxmlformats.org/officeDocument/2006/relationships/slideLayout" Target="../slideLayouts/slideLayout80.xml"/><Relationship Id="rId15" Type="http://schemas.openxmlformats.org/officeDocument/2006/relationships/theme" Target="../theme/theme9.xml"/><Relationship Id="rId10" Type="http://schemas.openxmlformats.org/officeDocument/2006/relationships/slideLayout" Target="../slideLayouts/slideLayout85.xml"/><Relationship Id="rId19" Type="http://schemas.openxmlformats.org/officeDocument/2006/relationships/image" Target="../media/image4.emf"/><Relationship Id="rId4" Type="http://schemas.openxmlformats.org/officeDocument/2006/relationships/slideLayout" Target="../slideLayouts/slideLayout79.xml"/><Relationship Id="rId9" Type="http://schemas.openxmlformats.org/officeDocument/2006/relationships/slideLayout" Target="../slideLayouts/slideLayout84.xml"/><Relationship Id="rId14" Type="http://schemas.openxmlformats.org/officeDocument/2006/relationships/slideLayout" Target="../slideLayouts/slideLayout8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0" y="0"/>
            <a:ext cx="9144000" cy="782638"/>
          </a:xfrm>
          <a:prstGeom prst="rect">
            <a:avLst/>
          </a:prstGeom>
          <a:solidFill>
            <a:srgbClr val="1E1160"/>
          </a:solidFill>
          <a:ln>
            <a:solidFill>
              <a:srgbClr val="1E116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12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152400"/>
            <a:ext cx="6096000" cy="60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512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914400"/>
            <a:ext cx="8229600" cy="5181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5126" name="Picture 6" descr="NationalGrid logo.gif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29400" y="228600"/>
            <a:ext cx="2251075" cy="469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5" name="Rectangle 11"/>
          <p:cNvSpPr>
            <a:spLocks noChangeArrowheads="1"/>
          </p:cNvSpPr>
          <p:nvPr/>
        </p:nvSpPr>
        <p:spPr bwMode="auto">
          <a:xfrm>
            <a:off x="8536188" y="6597106"/>
            <a:ext cx="609600" cy="189706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r">
              <a:defRPr sz="14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4B6F47BE-DAD4-49D6-8FA7-43359BD872FF}" type="slidenum">
              <a:rPr lang="en-US" sz="1000">
                <a:solidFill>
                  <a:prstClr val="black"/>
                </a:solidFill>
                <a:cs typeface="ＭＳ Ｐゴシック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000" dirty="0">
              <a:solidFill>
                <a:prstClr val="black"/>
              </a:solidFill>
              <a:cs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36501780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5" r:id="rId4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+mj-lt"/>
          <a:ea typeface="+mj-ea"/>
          <a:cs typeface="ＭＳ Ｐゴシック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ea typeface="ＭＳ Ｐゴシック" charset="0"/>
          <a:cs typeface="ＭＳ Ｐゴシック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ea typeface="ＭＳ Ｐゴシック" charset="0"/>
          <a:cs typeface="ＭＳ Ｐゴシック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ea typeface="ＭＳ Ｐゴシック" charset="0"/>
          <a:cs typeface="ＭＳ Ｐゴシック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ea typeface="ＭＳ Ｐゴシック" charset="0"/>
          <a:cs typeface="ＭＳ Ｐゴシック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ea typeface="ＭＳ Ｐゴシック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ea typeface="ＭＳ Ｐゴシック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ea typeface="ＭＳ Ｐゴシック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ea typeface="ＭＳ Ｐゴシック" charset="0"/>
        </a:defRPr>
      </a:lvl9pPr>
    </p:titleStyle>
    <p:bodyStyle>
      <a:lvl1pPr marL="342900" indent="-342900" algn="l" rtl="0" eaLnBrk="0" fontAlgn="base" hangingPunct="0">
        <a:spcBef>
          <a:spcPct val="0"/>
        </a:spcBef>
        <a:spcAft>
          <a:spcPct val="50000"/>
        </a:spcAft>
        <a:buClr>
          <a:schemeClr val="tx2"/>
        </a:buClr>
        <a:buFont typeface="Wingdings" pitchFamily="2" charset="2"/>
        <a:buChar char="Ø"/>
        <a:defRPr sz="2400">
          <a:solidFill>
            <a:schemeClr val="tx1"/>
          </a:solidFill>
          <a:latin typeface="+mn-lt"/>
          <a:ea typeface="+mn-ea"/>
          <a:cs typeface="ＭＳ Ｐゴシック" charset="0"/>
        </a:defRPr>
      </a:lvl1pPr>
      <a:lvl2pPr marL="742950" indent="-285750" algn="l" rtl="0" eaLnBrk="0" fontAlgn="base" hangingPunct="0">
        <a:spcBef>
          <a:spcPct val="0"/>
        </a:spcBef>
        <a:spcAft>
          <a:spcPct val="50000"/>
        </a:spcAft>
        <a:buClr>
          <a:schemeClr val="tx2"/>
        </a:buClr>
        <a:buFont typeface="Wingdings 2" pitchFamily="18" charset="2"/>
        <a:buChar char="®"/>
        <a:defRPr sz="2200">
          <a:solidFill>
            <a:schemeClr val="tx1"/>
          </a:solidFill>
          <a:latin typeface="+mn-lt"/>
          <a:ea typeface="+mn-ea"/>
          <a:cs typeface="ＭＳ Ｐゴシック"/>
        </a:defRPr>
      </a:lvl2pPr>
      <a:lvl3pPr marL="1143000" indent="-228600" algn="l" rtl="0" eaLnBrk="0" fontAlgn="base" hangingPunct="0">
        <a:spcBef>
          <a:spcPct val="0"/>
        </a:spcBef>
        <a:spcAft>
          <a:spcPct val="50000"/>
        </a:spcAft>
        <a:buClr>
          <a:schemeClr val="tx2"/>
        </a:buClr>
        <a:buSzPct val="125000"/>
        <a:buFont typeface="Wingdings" pitchFamily="2" charset="2"/>
        <a:buChar char="§"/>
        <a:defRPr sz="2000">
          <a:solidFill>
            <a:schemeClr val="tx1"/>
          </a:solidFill>
          <a:latin typeface="+mn-lt"/>
          <a:ea typeface="+mn-ea"/>
          <a:cs typeface="ＭＳ Ｐゴシック"/>
        </a:defRPr>
      </a:lvl3pPr>
      <a:lvl4pPr marL="1600200" indent="-228600" algn="l" rtl="0" eaLnBrk="0" fontAlgn="base" hangingPunct="0">
        <a:spcBef>
          <a:spcPct val="0"/>
        </a:spcBef>
        <a:spcAft>
          <a:spcPct val="50000"/>
        </a:spcAft>
        <a:buClr>
          <a:schemeClr val="tx2"/>
        </a:buClr>
        <a:buFont typeface="Arial" pitchFamily="34" charset="0"/>
        <a:buChar char="•"/>
        <a:defRPr>
          <a:solidFill>
            <a:schemeClr val="tx1"/>
          </a:solidFill>
          <a:latin typeface="+mn-lt"/>
          <a:ea typeface="+mn-ea"/>
          <a:cs typeface="ＭＳ Ｐゴシック"/>
        </a:defRPr>
      </a:lvl4pPr>
      <a:lvl5pPr marL="2057400" indent="-228600" algn="l" rtl="0" eaLnBrk="0" fontAlgn="base" hangingPunct="0">
        <a:spcBef>
          <a:spcPct val="0"/>
        </a:spcBef>
        <a:spcAft>
          <a:spcPct val="50000"/>
        </a:spcAft>
        <a:buClr>
          <a:schemeClr val="tx2"/>
        </a:buClr>
        <a:buFont typeface="Lucida Grande" charset="0"/>
        <a:buChar char="-"/>
        <a:defRPr sz="1600">
          <a:solidFill>
            <a:schemeClr val="tx1"/>
          </a:solidFill>
          <a:latin typeface="+mn-lt"/>
          <a:ea typeface="+mn-ea"/>
          <a:cs typeface="ＭＳ Ｐゴシック"/>
        </a:defRPr>
      </a:lvl5pPr>
      <a:lvl6pPr marL="2514600" indent="-228600" algn="l" rtl="0" fontAlgn="base">
        <a:spcBef>
          <a:spcPct val="0"/>
        </a:spcBef>
        <a:spcAft>
          <a:spcPct val="50000"/>
        </a:spcAft>
        <a:buClr>
          <a:schemeClr val="tx2"/>
        </a:buClr>
        <a:buFont typeface="Wingdings 2" charset="0"/>
        <a:buChar char="®"/>
        <a:defRPr sz="16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0"/>
        </a:spcBef>
        <a:spcAft>
          <a:spcPct val="50000"/>
        </a:spcAft>
        <a:buClr>
          <a:schemeClr val="tx2"/>
        </a:buClr>
        <a:buFont typeface="Wingdings 2" charset="0"/>
        <a:buChar char="®"/>
        <a:defRPr sz="16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0"/>
        </a:spcBef>
        <a:spcAft>
          <a:spcPct val="50000"/>
        </a:spcAft>
        <a:buClr>
          <a:schemeClr val="tx2"/>
        </a:buClr>
        <a:buFont typeface="Wingdings 2" charset="0"/>
        <a:buChar char="®"/>
        <a:defRPr sz="16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0"/>
        </a:spcBef>
        <a:spcAft>
          <a:spcPct val="50000"/>
        </a:spcAft>
        <a:buClr>
          <a:schemeClr val="tx2"/>
        </a:buClr>
        <a:buFont typeface="Wingdings 2" charset="0"/>
        <a:buChar char="®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0" y="0"/>
            <a:ext cx="9144000" cy="782638"/>
          </a:xfrm>
          <a:prstGeom prst="rect">
            <a:avLst/>
          </a:prstGeom>
          <a:solidFill>
            <a:srgbClr val="1E1160"/>
          </a:solidFill>
          <a:ln>
            <a:solidFill>
              <a:srgbClr val="1E116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12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152400"/>
            <a:ext cx="6096000" cy="60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512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914400"/>
            <a:ext cx="8229600" cy="5181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5126" name="Picture 6" descr="NationalGrid logo.gif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29400" y="228600"/>
            <a:ext cx="2251075" cy="469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5" name="Rectangle 11"/>
          <p:cNvSpPr>
            <a:spLocks noChangeArrowheads="1"/>
          </p:cNvSpPr>
          <p:nvPr/>
        </p:nvSpPr>
        <p:spPr bwMode="auto">
          <a:xfrm>
            <a:off x="8536188" y="6597106"/>
            <a:ext cx="609600" cy="189706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r">
              <a:defRPr sz="14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4B6F47BE-DAD4-49D6-8FA7-43359BD872FF}" type="slidenum">
              <a:rPr lang="en-US" sz="1000">
                <a:solidFill>
                  <a:prstClr val="black"/>
                </a:solidFill>
                <a:cs typeface="ＭＳ Ｐゴシック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000" dirty="0">
              <a:solidFill>
                <a:prstClr val="black"/>
              </a:solidFill>
              <a:cs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36016840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+mj-lt"/>
          <a:ea typeface="+mj-ea"/>
          <a:cs typeface="ＭＳ Ｐゴシック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ea typeface="ＭＳ Ｐゴシック" charset="0"/>
          <a:cs typeface="ＭＳ Ｐゴシック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ea typeface="ＭＳ Ｐゴシック" charset="0"/>
          <a:cs typeface="ＭＳ Ｐゴシック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ea typeface="ＭＳ Ｐゴシック" charset="0"/>
          <a:cs typeface="ＭＳ Ｐゴシック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ea typeface="ＭＳ Ｐゴシック" charset="0"/>
          <a:cs typeface="ＭＳ Ｐゴシック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ea typeface="ＭＳ Ｐゴシック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ea typeface="ＭＳ Ｐゴシック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ea typeface="ＭＳ Ｐゴシック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ea typeface="ＭＳ Ｐゴシック" charset="0"/>
        </a:defRPr>
      </a:lvl9pPr>
    </p:titleStyle>
    <p:bodyStyle>
      <a:lvl1pPr marL="342900" indent="-342900" algn="l" rtl="0" eaLnBrk="0" fontAlgn="base" hangingPunct="0">
        <a:spcBef>
          <a:spcPct val="0"/>
        </a:spcBef>
        <a:spcAft>
          <a:spcPct val="50000"/>
        </a:spcAft>
        <a:buClr>
          <a:schemeClr val="tx2"/>
        </a:buClr>
        <a:buFont typeface="Wingdings" pitchFamily="2" charset="2"/>
        <a:buChar char="Ø"/>
        <a:defRPr sz="2400">
          <a:solidFill>
            <a:schemeClr val="tx1"/>
          </a:solidFill>
          <a:latin typeface="+mn-lt"/>
          <a:ea typeface="+mn-ea"/>
          <a:cs typeface="ＭＳ Ｐゴシック" charset="0"/>
        </a:defRPr>
      </a:lvl1pPr>
      <a:lvl2pPr marL="742950" indent="-285750" algn="l" rtl="0" eaLnBrk="0" fontAlgn="base" hangingPunct="0">
        <a:spcBef>
          <a:spcPct val="0"/>
        </a:spcBef>
        <a:spcAft>
          <a:spcPct val="50000"/>
        </a:spcAft>
        <a:buClr>
          <a:schemeClr val="tx2"/>
        </a:buClr>
        <a:buFont typeface="Wingdings 2" pitchFamily="18" charset="2"/>
        <a:buChar char="®"/>
        <a:defRPr sz="2200">
          <a:solidFill>
            <a:schemeClr val="tx1"/>
          </a:solidFill>
          <a:latin typeface="+mn-lt"/>
          <a:ea typeface="+mn-ea"/>
          <a:cs typeface="ＭＳ Ｐゴシック"/>
        </a:defRPr>
      </a:lvl2pPr>
      <a:lvl3pPr marL="1143000" indent="-228600" algn="l" rtl="0" eaLnBrk="0" fontAlgn="base" hangingPunct="0">
        <a:spcBef>
          <a:spcPct val="0"/>
        </a:spcBef>
        <a:spcAft>
          <a:spcPct val="50000"/>
        </a:spcAft>
        <a:buClr>
          <a:schemeClr val="tx2"/>
        </a:buClr>
        <a:buSzPct val="125000"/>
        <a:buFont typeface="Wingdings" pitchFamily="2" charset="2"/>
        <a:buChar char="§"/>
        <a:defRPr sz="2000">
          <a:solidFill>
            <a:schemeClr val="tx1"/>
          </a:solidFill>
          <a:latin typeface="+mn-lt"/>
          <a:ea typeface="+mn-ea"/>
          <a:cs typeface="ＭＳ Ｐゴシック"/>
        </a:defRPr>
      </a:lvl3pPr>
      <a:lvl4pPr marL="1600200" indent="-228600" algn="l" rtl="0" eaLnBrk="0" fontAlgn="base" hangingPunct="0">
        <a:spcBef>
          <a:spcPct val="0"/>
        </a:spcBef>
        <a:spcAft>
          <a:spcPct val="50000"/>
        </a:spcAft>
        <a:buClr>
          <a:schemeClr val="tx2"/>
        </a:buClr>
        <a:buFont typeface="Arial" pitchFamily="34" charset="0"/>
        <a:buChar char="•"/>
        <a:defRPr>
          <a:solidFill>
            <a:schemeClr val="tx1"/>
          </a:solidFill>
          <a:latin typeface="+mn-lt"/>
          <a:ea typeface="+mn-ea"/>
          <a:cs typeface="ＭＳ Ｐゴシック"/>
        </a:defRPr>
      </a:lvl4pPr>
      <a:lvl5pPr marL="2057400" indent="-228600" algn="l" rtl="0" eaLnBrk="0" fontAlgn="base" hangingPunct="0">
        <a:spcBef>
          <a:spcPct val="0"/>
        </a:spcBef>
        <a:spcAft>
          <a:spcPct val="50000"/>
        </a:spcAft>
        <a:buClr>
          <a:schemeClr val="tx2"/>
        </a:buClr>
        <a:buFont typeface="Lucida Grande" charset="0"/>
        <a:buChar char="-"/>
        <a:defRPr sz="1600">
          <a:solidFill>
            <a:schemeClr val="tx1"/>
          </a:solidFill>
          <a:latin typeface="+mn-lt"/>
          <a:ea typeface="+mn-ea"/>
          <a:cs typeface="ＭＳ Ｐゴシック"/>
        </a:defRPr>
      </a:lvl5pPr>
      <a:lvl6pPr marL="2514600" indent="-228600" algn="l" rtl="0" fontAlgn="base">
        <a:spcBef>
          <a:spcPct val="0"/>
        </a:spcBef>
        <a:spcAft>
          <a:spcPct val="50000"/>
        </a:spcAft>
        <a:buClr>
          <a:schemeClr val="tx2"/>
        </a:buClr>
        <a:buFont typeface="Wingdings 2" charset="0"/>
        <a:buChar char="®"/>
        <a:defRPr sz="16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0"/>
        </a:spcBef>
        <a:spcAft>
          <a:spcPct val="50000"/>
        </a:spcAft>
        <a:buClr>
          <a:schemeClr val="tx2"/>
        </a:buClr>
        <a:buFont typeface="Wingdings 2" charset="0"/>
        <a:buChar char="®"/>
        <a:defRPr sz="16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0"/>
        </a:spcBef>
        <a:spcAft>
          <a:spcPct val="50000"/>
        </a:spcAft>
        <a:buClr>
          <a:schemeClr val="tx2"/>
        </a:buClr>
        <a:buFont typeface="Wingdings 2" charset="0"/>
        <a:buChar char="®"/>
        <a:defRPr sz="16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0"/>
        </a:spcBef>
        <a:spcAft>
          <a:spcPct val="50000"/>
        </a:spcAft>
        <a:buClr>
          <a:schemeClr val="tx2"/>
        </a:buClr>
        <a:buFont typeface="Wingdings 2" charset="0"/>
        <a:buChar char="®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0" y="0"/>
            <a:ext cx="9144000" cy="782638"/>
          </a:xfrm>
          <a:prstGeom prst="rect">
            <a:avLst/>
          </a:prstGeom>
          <a:solidFill>
            <a:srgbClr val="1E1160"/>
          </a:solidFill>
          <a:ln>
            <a:solidFill>
              <a:srgbClr val="1E116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76200" y="152400"/>
            <a:ext cx="8763000" cy="60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914400"/>
            <a:ext cx="8229600" cy="5181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35" name="Rectangle 11"/>
          <p:cNvSpPr>
            <a:spLocks noChangeArrowheads="1"/>
          </p:cNvSpPr>
          <p:nvPr/>
        </p:nvSpPr>
        <p:spPr bwMode="auto">
          <a:xfrm>
            <a:off x="8534400" y="6554788"/>
            <a:ext cx="609600" cy="303212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r">
              <a:defRPr sz="14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CBBE143-3D43-4F68-9F94-AB5B2AFFA72F}" type="slidenum">
              <a:rPr lang="en-US">
                <a:solidFill>
                  <a:srgbClr val="000000"/>
                </a:solidFill>
                <a:cs typeface="ＭＳ Ｐゴシック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solidFill>
                <a:srgbClr val="000000"/>
              </a:solidFill>
              <a:cs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4059801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  <p:sldLayoutId id="2147483687" r:id="rId15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pitchFamily="34" charset="0"/>
          <a:ea typeface="ＭＳ Ｐゴシック" pitchFamily="34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pitchFamily="34" charset="0"/>
          <a:ea typeface="ＭＳ Ｐゴシック" pitchFamily="34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pitchFamily="34" charset="0"/>
          <a:ea typeface="ＭＳ Ｐゴシック" pitchFamily="34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pitchFamily="34" charset="0"/>
          <a:ea typeface="ＭＳ Ｐゴシック" pitchFamily="34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pitchFamily="34" charset="0"/>
          <a:ea typeface="ＭＳ Ｐゴシック" pitchFamily="34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pitchFamily="34" charset="0"/>
          <a:ea typeface="ＭＳ Ｐゴシック" pitchFamily="34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pitchFamily="34" charset="0"/>
          <a:ea typeface="ＭＳ Ｐゴシック" pitchFamily="34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pitchFamily="34" charset="0"/>
          <a:ea typeface="ＭＳ Ｐゴシック" pitchFamily="34" charset="-128"/>
        </a:defRPr>
      </a:lvl9pPr>
    </p:titleStyle>
    <p:bodyStyle>
      <a:lvl1pPr marL="342900" indent="-342900" algn="l" rtl="0" eaLnBrk="0" fontAlgn="base" hangingPunct="0">
        <a:spcBef>
          <a:spcPct val="0"/>
        </a:spcBef>
        <a:spcAft>
          <a:spcPct val="50000"/>
        </a:spcAft>
        <a:buClr>
          <a:schemeClr val="tx2"/>
        </a:buClr>
        <a:buFont typeface="Wingdings" pitchFamily="2" charset="2"/>
        <a:buChar char="Ø"/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0"/>
        </a:spcBef>
        <a:spcAft>
          <a:spcPct val="50000"/>
        </a:spcAft>
        <a:buClr>
          <a:schemeClr val="tx2"/>
        </a:buClr>
        <a:buFont typeface="Wingdings 2" pitchFamily="18" charset="2"/>
        <a:buChar char="®"/>
        <a:defRPr sz="22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hangingPunct="0">
        <a:spcBef>
          <a:spcPct val="0"/>
        </a:spcBef>
        <a:spcAft>
          <a:spcPct val="50000"/>
        </a:spcAft>
        <a:buClr>
          <a:schemeClr val="tx2"/>
        </a:buClr>
        <a:buSzPct val="125000"/>
        <a:buFont typeface="Wingdings" pitchFamily="2" charset="2"/>
        <a:buChar char="§"/>
        <a:defRPr sz="20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hangingPunct="0">
        <a:spcBef>
          <a:spcPct val="0"/>
        </a:spcBef>
        <a:spcAft>
          <a:spcPct val="50000"/>
        </a:spcAft>
        <a:buClr>
          <a:schemeClr val="tx2"/>
        </a:buClr>
        <a:buFont typeface="Arial" pitchFamily="34" charset="0"/>
        <a:buChar char="•"/>
        <a:defRPr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hangingPunct="0">
        <a:spcBef>
          <a:spcPct val="0"/>
        </a:spcBef>
        <a:spcAft>
          <a:spcPct val="50000"/>
        </a:spcAft>
        <a:buClr>
          <a:schemeClr val="tx2"/>
        </a:buClr>
        <a:buFont typeface="Lucida Grande"/>
        <a:buChar char="-"/>
        <a:defRPr sz="16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0"/>
        </a:spcBef>
        <a:spcAft>
          <a:spcPct val="50000"/>
        </a:spcAft>
        <a:buClr>
          <a:schemeClr val="tx2"/>
        </a:buClr>
        <a:buFont typeface="Lucida Grande"/>
        <a:buChar char="-"/>
        <a:defRPr sz="16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0"/>
        </a:spcBef>
        <a:spcAft>
          <a:spcPct val="50000"/>
        </a:spcAft>
        <a:buClr>
          <a:schemeClr val="tx2"/>
        </a:buClr>
        <a:buFont typeface="Lucida Grande"/>
        <a:buChar char="-"/>
        <a:defRPr sz="16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0"/>
        </a:spcBef>
        <a:spcAft>
          <a:spcPct val="50000"/>
        </a:spcAft>
        <a:buClr>
          <a:schemeClr val="tx2"/>
        </a:buClr>
        <a:buFont typeface="Lucida Grande"/>
        <a:buChar char="-"/>
        <a:defRPr sz="16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0"/>
        </a:spcBef>
        <a:spcAft>
          <a:spcPct val="50000"/>
        </a:spcAft>
        <a:buClr>
          <a:schemeClr val="tx2"/>
        </a:buClr>
        <a:buFont typeface="Lucida Grande"/>
        <a:buChar char="-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0" y="0"/>
            <a:ext cx="9144000" cy="782638"/>
          </a:xfrm>
          <a:prstGeom prst="rect">
            <a:avLst/>
          </a:prstGeom>
          <a:solidFill>
            <a:srgbClr val="1E1160"/>
          </a:solidFill>
          <a:ln>
            <a:solidFill>
              <a:srgbClr val="1E116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099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152400"/>
            <a:ext cx="6096000" cy="60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4100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914400"/>
            <a:ext cx="8229600" cy="5181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pic>
        <p:nvPicPr>
          <p:cNvPr id="4101" name="Picture 6" descr="NationalGrid logo.gif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29400" y="228600"/>
            <a:ext cx="2251075" cy="469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5" name="Rectangle 11"/>
          <p:cNvSpPr>
            <a:spLocks noChangeArrowheads="1"/>
          </p:cNvSpPr>
          <p:nvPr/>
        </p:nvSpPr>
        <p:spPr bwMode="auto">
          <a:xfrm>
            <a:off x="8534400" y="6554788"/>
            <a:ext cx="609600" cy="379412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r">
              <a:defRPr sz="14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2EF6C2A5-298D-4AE8-8DB0-77F89DB0D84B}" type="slidenum">
              <a:rPr lang="en-US">
                <a:solidFill>
                  <a:srgbClr val="000000"/>
                </a:solidFill>
                <a:cs typeface="ＭＳ Ｐゴシック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solidFill>
                <a:srgbClr val="000000"/>
              </a:solidFill>
              <a:cs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1422261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  <p:sldLayoutId id="2147483690" r:id="rId2"/>
    <p:sldLayoutId id="2147483691" r:id="rId3"/>
    <p:sldLayoutId id="2147483692" r:id="rId4"/>
    <p:sldLayoutId id="2147483693" r:id="rId5"/>
    <p:sldLayoutId id="2147483694" r:id="rId6"/>
    <p:sldLayoutId id="2147483695" r:id="rId7"/>
    <p:sldLayoutId id="2147483696" r:id="rId8"/>
    <p:sldLayoutId id="2147483697" r:id="rId9"/>
    <p:sldLayoutId id="2147483698" r:id="rId10"/>
    <p:sldLayoutId id="2147483699" r:id="rId11"/>
    <p:sldLayoutId id="2147483700" r:id="rId12"/>
    <p:sldLayoutId id="2147483701" r:id="rId13"/>
    <p:sldLayoutId id="2147483702" r:id="rId14"/>
    <p:sldLayoutId id="2147483703" r:id="rId15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+mj-lt"/>
          <a:ea typeface="ＭＳ Ｐゴシック" pitchFamily="34" charset="-128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pitchFamily="34" charset="0"/>
          <a:ea typeface="ＭＳ Ｐゴシック" pitchFamily="34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pitchFamily="34" charset="0"/>
          <a:ea typeface="ＭＳ Ｐゴシック" pitchFamily="34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pitchFamily="34" charset="0"/>
          <a:ea typeface="ＭＳ Ｐゴシック" pitchFamily="34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pitchFamily="34" charset="0"/>
          <a:ea typeface="ＭＳ Ｐゴシック" pitchFamily="34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pitchFamily="34" charset="0"/>
          <a:ea typeface="ＭＳ Ｐゴシック" pitchFamily="34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pitchFamily="34" charset="0"/>
          <a:ea typeface="ＭＳ Ｐゴシック" pitchFamily="34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pitchFamily="34" charset="0"/>
          <a:ea typeface="ＭＳ Ｐゴシック" pitchFamily="34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pitchFamily="34" charset="0"/>
          <a:ea typeface="ＭＳ Ｐゴシック" pitchFamily="34" charset="-128"/>
        </a:defRPr>
      </a:lvl9pPr>
    </p:titleStyle>
    <p:bodyStyle>
      <a:lvl1pPr marL="342900" indent="-342900" algn="l" rtl="0" eaLnBrk="0" fontAlgn="base" hangingPunct="0">
        <a:spcBef>
          <a:spcPct val="0"/>
        </a:spcBef>
        <a:spcAft>
          <a:spcPct val="50000"/>
        </a:spcAft>
        <a:buClr>
          <a:schemeClr val="tx2"/>
        </a:buClr>
        <a:buFont typeface="Wingdings" pitchFamily="2" charset="2"/>
        <a:buChar char="Ø"/>
        <a:defRPr sz="2400">
          <a:solidFill>
            <a:schemeClr val="tx1"/>
          </a:solidFill>
          <a:latin typeface="+mn-lt"/>
          <a:ea typeface="ＭＳ Ｐゴシック" pitchFamily="34" charset="-128"/>
          <a:cs typeface="+mn-cs"/>
        </a:defRPr>
      </a:lvl1pPr>
      <a:lvl2pPr marL="742950" indent="-285750" algn="l" rtl="0" eaLnBrk="0" fontAlgn="base" hangingPunct="0">
        <a:spcBef>
          <a:spcPct val="0"/>
        </a:spcBef>
        <a:spcAft>
          <a:spcPct val="50000"/>
        </a:spcAft>
        <a:buClr>
          <a:schemeClr val="tx2"/>
        </a:buClr>
        <a:buFont typeface="Wingdings 2" pitchFamily="18" charset="2"/>
        <a:buChar char="®"/>
        <a:defRPr sz="2200">
          <a:solidFill>
            <a:schemeClr val="tx1"/>
          </a:solidFill>
          <a:latin typeface="+mn-lt"/>
          <a:ea typeface="ＭＳ Ｐゴシック" pitchFamily="34" charset="-128"/>
        </a:defRPr>
      </a:lvl2pPr>
      <a:lvl3pPr marL="1143000" indent="-228600" algn="l" rtl="0" eaLnBrk="0" fontAlgn="base" hangingPunct="0">
        <a:spcBef>
          <a:spcPct val="0"/>
        </a:spcBef>
        <a:spcAft>
          <a:spcPct val="50000"/>
        </a:spcAft>
        <a:buClr>
          <a:schemeClr val="tx2"/>
        </a:buClr>
        <a:buSzPct val="125000"/>
        <a:buFont typeface="Wingdings" pitchFamily="2" charset="2"/>
        <a:buChar char="§"/>
        <a:defRPr sz="2000">
          <a:solidFill>
            <a:schemeClr val="tx1"/>
          </a:solidFill>
          <a:latin typeface="+mn-lt"/>
          <a:ea typeface="ＭＳ Ｐゴシック" pitchFamily="34" charset="-128"/>
        </a:defRPr>
      </a:lvl3pPr>
      <a:lvl4pPr marL="1600200" indent="-228600" algn="l" rtl="0" eaLnBrk="0" fontAlgn="base" hangingPunct="0">
        <a:spcBef>
          <a:spcPct val="0"/>
        </a:spcBef>
        <a:spcAft>
          <a:spcPct val="50000"/>
        </a:spcAft>
        <a:buClr>
          <a:schemeClr val="tx2"/>
        </a:buClr>
        <a:buFont typeface="Arial" pitchFamily="34" charset="0"/>
        <a:buChar char="•"/>
        <a:defRPr>
          <a:solidFill>
            <a:schemeClr val="tx1"/>
          </a:solidFill>
          <a:latin typeface="+mn-lt"/>
          <a:ea typeface="ＭＳ Ｐゴシック" pitchFamily="34" charset="-128"/>
        </a:defRPr>
      </a:lvl4pPr>
      <a:lvl5pPr marL="2057400" indent="-228600" algn="l" rtl="0" eaLnBrk="0" fontAlgn="base" hangingPunct="0">
        <a:spcBef>
          <a:spcPct val="0"/>
        </a:spcBef>
        <a:spcAft>
          <a:spcPct val="50000"/>
        </a:spcAft>
        <a:buClr>
          <a:schemeClr val="tx2"/>
        </a:buClr>
        <a:buFont typeface="Lucida Grande"/>
        <a:buChar char="-"/>
        <a:defRPr sz="1600">
          <a:solidFill>
            <a:schemeClr val="tx1"/>
          </a:solidFill>
          <a:latin typeface="+mn-lt"/>
          <a:ea typeface="ＭＳ Ｐゴシック" pitchFamily="34" charset="-128"/>
        </a:defRPr>
      </a:lvl5pPr>
      <a:lvl6pPr marL="2514600" indent="-228600" algn="l" rtl="0" fontAlgn="base">
        <a:spcBef>
          <a:spcPct val="0"/>
        </a:spcBef>
        <a:spcAft>
          <a:spcPct val="50000"/>
        </a:spcAft>
        <a:buClr>
          <a:schemeClr val="tx2"/>
        </a:buClr>
        <a:buFont typeface="Lucida Grande"/>
        <a:buChar char="-"/>
        <a:defRPr sz="16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0"/>
        </a:spcBef>
        <a:spcAft>
          <a:spcPct val="50000"/>
        </a:spcAft>
        <a:buClr>
          <a:schemeClr val="tx2"/>
        </a:buClr>
        <a:buFont typeface="Lucida Grande"/>
        <a:buChar char="-"/>
        <a:defRPr sz="16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0"/>
        </a:spcBef>
        <a:spcAft>
          <a:spcPct val="50000"/>
        </a:spcAft>
        <a:buClr>
          <a:schemeClr val="tx2"/>
        </a:buClr>
        <a:buFont typeface="Lucida Grande"/>
        <a:buChar char="-"/>
        <a:defRPr sz="16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0"/>
        </a:spcBef>
        <a:spcAft>
          <a:spcPct val="50000"/>
        </a:spcAft>
        <a:buClr>
          <a:schemeClr val="tx2"/>
        </a:buClr>
        <a:buFont typeface="Lucida Grande"/>
        <a:buChar char="-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latin typeface="+mn-lt"/>
                <a:ea typeface="+mn-ea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b="1" dirty="0">
              <a:solidFill>
                <a:srgbClr val="0079C1"/>
              </a:solidFill>
            </a:endParaRPr>
          </a:p>
        </p:txBody>
      </p:sp>
      <p:sp>
        <p:nvSpPr>
          <p:cNvPr id="3277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810375" y="6195570"/>
            <a:ext cx="2133600" cy="3619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+mn-lt"/>
                <a:ea typeface="+mn-ea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72426ADF-4D32-487A-B2FB-E0A68049360E}" type="slidenum">
              <a:rPr lang="en-US" b="1">
                <a:solidFill>
                  <a:srgbClr val="0079C1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b="1" dirty="0">
              <a:solidFill>
                <a:srgbClr val="0079C1"/>
              </a:solidFill>
            </a:endParaRPr>
          </a:p>
        </p:txBody>
      </p:sp>
      <p:cxnSp>
        <p:nvCxnSpPr>
          <p:cNvPr id="4" name="Straight Connector 3"/>
          <p:cNvCxnSpPr/>
          <p:nvPr/>
        </p:nvCxnSpPr>
        <p:spPr>
          <a:xfrm>
            <a:off x="700090" y="1382717"/>
            <a:ext cx="7999412" cy="1587"/>
          </a:xfrm>
          <a:prstGeom prst="line">
            <a:avLst/>
          </a:prstGeom>
          <a:ln w="19050" cap="flat" cmpd="sng" algn="ctr">
            <a:solidFill>
              <a:srgbClr val="2478C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318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593727" y="762000"/>
            <a:ext cx="8093075" cy="519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1331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93727" y="1485900"/>
            <a:ext cx="8089900" cy="464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3320" name="Picture 27" descr="National_Grid_logo_blue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6810375" y="342900"/>
            <a:ext cx="1830388" cy="376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8639088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6" r:id="rId2"/>
    <p:sldLayoutId id="2147483707" r:id="rId3"/>
    <p:sldLayoutId id="2147483708" r:id="rId4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/>
          <a:cs typeface="ＭＳ Ｐゴシック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/>
          <a:cs typeface="ＭＳ Ｐゴシック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/>
          <a:cs typeface="ＭＳ Ｐゴシック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/>
          <a:cs typeface="ＭＳ Ｐゴシック"/>
        </a:defRPr>
      </a:lvl5pPr>
      <a:lvl6pPr marL="457200" algn="l" rtl="0" fontAlgn="base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/>
          <a:cs typeface="ＭＳ Ｐゴシック"/>
        </a:defRPr>
      </a:lvl6pPr>
      <a:lvl7pPr marL="914400" algn="l" rtl="0" fontAlgn="base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/>
          <a:cs typeface="ＭＳ Ｐゴシック"/>
        </a:defRPr>
      </a:lvl7pPr>
      <a:lvl8pPr marL="1371600" algn="l" rtl="0" fontAlgn="base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/>
          <a:cs typeface="ＭＳ Ｐゴシック"/>
        </a:defRPr>
      </a:lvl8pPr>
      <a:lvl9pPr marL="1828800" algn="l" rtl="0" fontAlgn="base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/>
          <a:cs typeface="ＭＳ Ｐゴシック"/>
        </a:defRPr>
      </a:lvl9pPr>
    </p:titleStyle>
    <p:bodyStyle>
      <a:lvl1pPr marL="342900" indent="-342900" algn="l" rtl="0" eaLnBrk="0" fontAlgn="base" hangingPunct="0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2400">
          <a:solidFill>
            <a:schemeClr val="tx2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2200">
          <a:solidFill>
            <a:schemeClr val="tx2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2000">
          <a:solidFill>
            <a:schemeClr val="tx2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2000">
          <a:solidFill>
            <a:schemeClr val="tx2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rtl="0" fontAlgn="base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chemeClr val="tx2"/>
          </a:solidFill>
          <a:latin typeface="+mn-lt"/>
          <a:ea typeface="+mn-ea"/>
          <a:cs typeface="+mn-cs"/>
        </a:defRPr>
      </a:lvl6pPr>
      <a:lvl7pPr marL="2971800" indent="-228600" algn="l" rtl="0" fontAlgn="base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chemeClr val="tx2"/>
          </a:solidFill>
          <a:latin typeface="+mn-lt"/>
          <a:ea typeface="+mn-ea"/>
          <a:cs typeface="+mn-cs"/>
        </a:defRPr>
      </a:lvl7pPr>
      <a:lvl8pPr marL="3429000" indent="-228600" algn="l" rtl="0" fontAlgn="base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chemeClr val="tx2"/>
          </a:solidFill>
          <a:latin typeface="+mn-lt"/>
          <a:ea typeface="+mn-ea"/>
          <a:cs typeface="+mn-cs"/>
        </a:defRPr>
      </a:lvl8pPr>
      <a:lvl9pPr marL="3886200" indent="-228600" algn="l" rtl="0" fontAlgn="base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8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76203" y="76203"/>
            <a:ext cx="8093075" cy="519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2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93727" y="1066800"/>
            <a:ext cx="8089900" cy="5067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1031" name="Freeform 29"/>
          <p:cNvSpPr>
            <a:spLocks/>
          </p:cNvSpPr>
          <p:nvPr/>
        </p:nvSpPr>
        <p:spPr bwMode="auto">
          <a:xfrm>
            <a:off x="0" y="0"/>
            <a:ext cx="9144000" cy="838200"/>
          </a:xfrm>
          <a:custGeom>
            <a:avLst/>
            <a:gdLst>
              <a:gd name="T0" fmla="*/ 0 w 5376"/>
              <a:gd name="T1" fmla="*/ 0 h 3474"/>
              <a:gd name="T2" fmla="*/ 0 w 5376"/>
              <a:gd name="T3" fmla="*/ 2147483647 h 3474"/>
              <a:gd name="T4" fmla="*/ 2147483647 w 5376"/>
              <a:gd name="T5" fmla="*/ 2147483647 h 3474"/>
              <a:gd name="T6" fmla="*/ 2147483647 w 5376"/>
              <a:gd name="T7" fmla="*/ 2147483647 h 3474"/>
              <a:gd name="T8" fmla="*/ 2147483647 w 5376"/>
              <a:gd name="T9" fmla="*/ 2147483647 h 3474"/>
              <a:gd name="T10" fmla="*/ 2147483647 w 5376"/>
              <a:gd name="T11" fmla="*/ 2147483647 h 3474"/>
              <a:gd name="T12" fmla="*/ 2147483647 w 5376"/>
              <a:gd name="T13" fmla="*/ 0 h 3474"/>
              <a:gd name="T14" fmla="*/ 0 w 5376"/>
              <a:gd name="T15" fmla="*/ 0 h 3474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5376" h="3474">
                <a:moveTo>
                  <a:pt x="0" y="0"/>
                </a:moveTo>
                <a:lnTo>
                  <a:pt x="0" y="3474"/>
                </a:lnTo>
                <a:lnTo>
                  <a:pt x="941" y="3474"/>
                </a:lnTo>
                <a:lnTo>
                  <a:pt x="1081" y="3474"/>
                </a:lnTo>
                <a:lnTo>
                  <a:pt x="1210" y="3474"/>
                </a:lnTo>
                <a:lnTo>
                  <a:pt x="5376" y="3474"/>
                </a:lnTo>
                <a:lnTo>
                  <a:pt x="5376" y="0"/>
                </a:lnTo>
                <a:lnTo>
                  <a:pt x="0" y="0"/>
                </a:lnTo>
                <a:close/>
              </a:path>
            </a:pathLst>
          </a:custGeom>
          <a:solidFill>
            <a:srgbClr val="260F54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800" b="1">
              <a:solidFill>
                <a:srgbClr val="0079C1"/>
              </a:solidFill>
              <a:cs typeface="Arial" pitchFamily="34" charset="0"/>
            </a:endParaRPr>
          </a:p>
        </p:txBody>
      </p:sp>
      <p:pic>
        <p:nvPicPr>
          <p:cNvPr id="1032" name="Picture 30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33023"/>
          <a:stretch/>
        </p:blipFill>
        <p:spPr bwMode="auto">
          <a:xfrm>
            <a:off x="7264401" y="152400"/>
            <a:ext cx="18034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277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686800" y="6496050"/>
            <a:ext cx="457200" cy="36195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pitchFamily="34" charset="0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0D040D9-0306-4866-8821-9101E3946437}" type="slidenum">
              <a:rPr lang="en-US" b="1">
                <a:solidFill>
                  <a:srgbClr val="0079C1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b="1">
              <a:solidFill>
                <a:srgbClr val="0079C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02043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1" r:id="rId2"/>
    <p:sldLayoutId id="2147483712" r:id="rId3"/>
    <p:sldLayoutId id="2147483713" r:id="rId4"/>
    <p:sldLayoutId id="2147483714" r:id="rId5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pitchFamily="34" charset="0"/>
          <a:ea typeface="ＭＳ Ｐゴシック" pitchFamily="34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pitchFamily="34" charset="0"/>
          <a:ea typeface="ＭＳ Ｐゴシック" pitchFamily="34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pitchFamily="34" charset="0"/>
          <a:ea typeface="ＭＳ Ｐゴシック" pitchFamily="34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pitchFamily="34" charset="0"/>
          <a:ea typeface="ＭＳ Ｐゴシック" pitchFamily="34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pitchFamily="34" charset="0"/>
          <a:ea typeface="ＭＳ Ｐゴシック" pitchFamily="34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pitchFamily="34" charset="0"/>
          <a:ea typeface="ＭＳ Ｐゴシック" pitchFamily="34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pitchFamily="34" charset="0"/>
          <a:ea typeface="ＭＳ Ｐゴシック" pitchFamily="34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pitchFamily="34" charset="0"/>
          <a:ea typeface="ＭＳ Ｐゴシック" pitchFamily="34" charset="-128"/>
        </a:defRPr>
      </a:lvl9pPr>
    </p:titleStyle>
    <p:bodyStyle>
      <a:lvl1pPr marL="342900" indent="-342900" algn="l" rtl="0" eaLnBrk="0" fontAlgn="base" hangingPunct="0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2400">
          <a:solidFill>
            <a:srgbClr val="260F54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2200">
          <a:solidFill>
            <a:srgbClr val="260F54"/>
          </a:solidFill>
          <a:latin typeface="+mn-lt"/>
          <a:ea typeface="+mn-ea"/>
        </a:defRPr>
      </a:lvl2pPr>
      <a:lvl3pPr marL="1143000" indent="-228600" algn="l" rtl="0" eaLnBrk="0" fontAlgn="base" hangingPunct="0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2000">
          <a:solidFill>
            <a:srgbClr val="260F54"/>
          </a:solidFill>
          <a:latin typeface="+mn-lt"/>
          <a:ea typeface="+mn-ea"/>
        </a:defRPr>
      </a:lvl3pPr>
      <a:lvl4pPr marL="1600200" indent="-228600" algn="l" rtl="0" eaLnBrk="0" fontAlgn="base" hangingPunct="0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>
          <a:solidFill>
            <a:srgbClr val="260F54"/>
          </a:solidFill>
          <a:latin typeface="+mn-lt"/>
          <a:ea typeface="+mn-ea"/>
        </a:defRPr>
      </a:lvl4pPr>
      <a:lvl5pPr marL="2057400" indent="-228600" algn="l" rtl="0" eaLnBrk="0" fontAlgn="base" hangingPunct="0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rgbClr val="260F54"/>
          </a:solidFill>
          <a:latin typeface="+mn-lt"/>
          <a:ea typeface="+mn-ea"/>
        </a:defRPr>
      </a:lvl5pPr>
      <a:lvl6pPr marL="2514600" indent="-228600" algn="l" rtl="0" eaLnBrk="0" fontAlgn="base" hangingPunct="0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rgbClr val="260F54"/>
          </a:solidFill>
          <a:latin typeface="+mn-lt"/>
          <a:ea typeface="+mn-ea"/>
        </a:defRPr>
      </a:lvl6pPr>
      <a:lvl7pPr marL="2971800" indent="-228600" algn="l" rtl="0" eaLnBrk="0" fontAlgn="base" hangingPunct="0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rgbClr val="260F54"/>
          </a:solidFill>
          <a:latin typeface="+mn-lt"/>
          <a:ea typeface="+mn-ea"/>
        </a:defRPr>
      </a:lvl7pPr>
      <a:lvl8pPr marL="3429000" indent="-228600" algn="l" rtl="0" eaLnBrk="0" fontAlgn="base" hangingPunct="0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rgbClr val="260F54"/>
          </a:solidFill>
          <a:latin typeface="+mn-lt"/>
          <a:ea typeface="+mn-ea"/>
        </a:defRPr>
      </a:lvl8pPr>
      <a:lvl9pPr marL="3886200" indent="-228600" algn="l" rtl="0" eaLnBrk="0" fontAlgn="base" hangingPunct="0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rgbClr val="260F54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9506" name="Picture 2" descr="long_powerstrips.gif"/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00802"/>
            <a:ext cx="9144000" cy="32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/>
          <p:cNvSpPr/>
          <p:nvPr/>
        </p:nvSpPr>
        <p:spPr>
          <a:xfrm>
            <a:off x="0" y="0"/>
            <a:ext cx="9144000" cy="782638"/>
          </a:xfrm>
          <a:prstGeom prst="rect">
            <a:avLst/>
          </a:prstGeom>
          <a:solidFill>
            <a:srgbClr val="1E1160"/>
          </a:solidFill>
          <a:ln>
            <a:solidFill>
              <a:srgbClr val="1E116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4950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152400"/>
            <a:ext cx="6096000" cy="60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4950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914400"/>
            <a:ext cx="8229600" cy="5181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49510" name="Picture 6" descr="NationalGrid logo.gif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29401" y="228600"/>
            <a:ext cx="2251075" cy="469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5" name="Rectangle 11"/>
          <p:cNvSpPr>
            <a:spLocks noChangeArrowheads="1"/>
          </p:cNvSpPr>
          <p:nvPr/>
        </p:nvSpPr>
        <p:spPr bwMode="auto">
          <a:xfrm>
            <a:off x="8153400" y="6373813"/>
            <a:ext cx="609600" cy="379412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r">
              <a:defRPr sz="14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02E8241-7A66-4407-9508-7F283BEFFC2B}" type="slidenum">
              <a:rPr lang="en-US">
                <a:solidFill>
                  <a:srgbClr val="000000"/>
                </a:solidFill>
                <a:cs typeface="ＭＳ Ｐゴシック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solidFill>
                <a:srgbClr val="000000"/>
              </a:solidFill>
              <a:cs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20389567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17" r:id="rId2"/>
    <p:sldLayoutId id="2147483718" r:id="rId3"/>
    <p:sldLayoutId id="2147483719" r:id="rId4"/>
    <p:sldLayoutId id="2147483720" r:id="rId5"/>
    <p:sldLayoutId id="2147483721" r:id="rId6"/>
    <p:sldLayoutId id="2147483722" r:id="rId7"/>
    <p:sldLayoutId id="2147483723" r:id="rId8"/>
    <p:sldLayoutId id="2147483724" r:id="rId9"/>
    <p:sldLayoutId id="2147483725" r:id="rId10"/>
    <p:sldLayoutId id="2147483726" r:id="rId11"/>
    <p:sldLayoutId id="2147483727" r:id="rId12"/>
    <p:sldLayoutId id="2147483728" r:id="rId13"/>
    <p:sldLayoutId id="2147483729" r:id="rId14"/>
    <p:sldLayoutId id="2147483730" r:id="rId15"/>
  </p:sldLayoutIdLst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pitchFamily="34" charset="0"/>
          <a:ea typeface="ＭＳ Ｐゴシック" pitchFamily="34" charset="-128"/>
        </a:defRPr>
      </a:lvl2pPr>
      <a:lvl3pPr algn="l" rtl="0" fontAlgn="base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pitchFamily="34" charset="0"/>
          <a:ea typeface="ＭＳ Ｐゴシック" pitchFamily="34" charset="-128"/>
        </a:defRPr>
      </a:lvl3pPr>
      <a:lvl4pPr algn="l" rtl="0" fontAlgn="base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pitchFamily="34" charset="0"/>
          <a:ea typeface="ＭＳ Ｐゴシック" pitchFamily="34" charset="-128"/>
        </a:defRPr>
      </a:lvl4pPr>
      <a:lvl5pPr algn="l" rtl="0" fontAlgn="base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pitchFamily="34" charset="0"/>
          <a:ea typeface="ＭＳ Ｐゴシック" pitchFamily="34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pitchFamily="34" charset="0"/>
          <a:ea typeface="ＭＳ Ｐゴシック" pitchFamily="34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pitchFamily="34" charset="0"/>
          <a:ea typeface="ＭＳ Ｐゴシック" pitchFamily="34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pitchFamily="34" charset="0"/>
          <a:ea typeface="ＭＳ Ｐゴシック" pitchFamily="34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pitchFamily="34" charset="0"/>
          <a:ea typeface="ＭＳ Ｐゴシック" pitchFamily="34" charset="-128"/>
        </a:defRPr>
      </a:lvl9pPr>
    </p:titleStyle>
    <p:bodyStyle>
      <a:lvl1pPr marL="342900" indent="-342900" algn="l" rtl="0" fontAlgn="base">
        <a:spcBef>
          <a:spcPct val="0"/>
        </a:spcBef>
        <a:spcAft>
          <a:spcPct val="50000"/>
        </a:spcAft>
        <a:buClr>
          <a:schemeClr val="tx2"/>
        </a:buClr>
        <a:buFont typeface="Wingdings" pitchFamily="2" charset="2"/>
        <a:buChar char="Ø"/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0"/>
        </a:spcBef>
        <a:spcAft>
          <a:spcPct val="50000"/>
        </a:spcAft>
        <a:buClr>
          <a:schemeClr val="tx2"/>
        </a:buClr>
        <a:buFont typeface="Wingdings 2" pitchFamily="18" charset="2"/>
        <a:buChar char="®"/>
        <a:defRPr sz="2200">
          <a:solidFill>
            <a:schemeClr val="tx1"/>
          </a:solidFill>
          <a:latin typeface="+mn-lt"/>
          <a:ea typeface="+mn-ea"/>
        </a:defRPr>
      </a:lvl2pPr>
      <a:lvl3pPr marL="1143000" indent="-228600" algn="l" rtl="0" fontAlgn="base">
        <a:spcBef>
          <a:spcPct val="0"/>
        </a:spcBef>
        <a:spcAft>
          <a:spcPct val="50000"/>
        </a:spcAft>
        <a:buClr>
          <a:schemeClr val="tx2"/>
        </a:buClr>
        <a:buSzPct val="125000"/>
        <a:buFont typeface="Wingdings" pitchFamily="2" charset="2"/>
        <a:buChar char="§"/>
        <a:defRPr sz="2000">
          <a:solidFill>
            <a:schemeClr val="tx1"/>
          </a:solidFill>
          <a:latin typeface="+mn-lt"/>
          <a:ea typeface="+mn-ea"/>
        </a:defRPr>
      </a:lvl3pPr>
      <a:lvl4pPr marL="1600200" indent="-228600" algn="l" rtl="0" fontAlgn="base">
        <a:spcBef>
          <a:spcPct val="0"/>
        </a:spcBef>
        <a:spcAft>
          <a:spcPct val="50000"/>
        </a:spcAft>
        <a:buClr>
          <a:schemeClr val="tx2"/>
        </a:buClr>
        <a:buFont typeface="Arial" pitchFamily="34" charset="0"/>
        <a:buChar char="•"/>
        <a:defRPr>
          <a:solidFill>
            <a:schemeClr val="tx1"/>
          </a:solidFill>
          <a:latin typeface="+mn-lt"/>
          <a:ea typeface="+mn-ea"/>
        </a:defRPr>
      </a:lvl4pPr>
      <a:lvl5pPr marL="2057400" indent="-228600" algn="l" rtl="0" fontAlgn="base">
        <a:spcBef>
          <a:spcPct val="0"/>
        </a:spcBef>
        <a:spcAft>
          <a:spcPct val="50000"/>
        </a:spcAft>
        <a:buClr>
          <a:schemeClr val="tx2"/>
        </a:buClr>
        <a:buFont typeface="Lucida Grande"/>
        <a:buChar char="-"/>
        <a:defRPr sz="16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0"/>
        </a:spcBef>
        <a:spcAft>
          <a:spcPct val="50000"/>
        </a:spcAft>
        <a:buClr>
          <a:schemeClr val="tx2"/>
        </a:buClr>
        <a:buFont typeface="Lucida Grande"/>
        <a:buChar char="-"/>
        <a:defRPr sz="16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0"/>
        </a:spcBef>
        <a:spcAft>
          <a:spcPct val="50000"/>
        </a:spcAft>
        <a:buClr>
          <a:schemeClr val="tx2"/>
        </a:buClr>
        <a:buFont typeface="Lucida Grande"/>
        <a:buChar char="-"/>
        <a:defRPr sz="16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0"/>
        </a:spcBef>
        <a:spcAft>
          <a:spcPct val="50000"/>
        </a:spcAft>
        <a:buClr>
          <a:schemeClr val="tx2"/>
        </a:buClr>
        <a:buFont typeface="Lucida Grande"/>
        <a:buChar char="-"/>
        <a:defRPr sz="16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0"/>
        </a:spcBef>
        <a:spcAft>
          <a:spcPct val="50000"/>
        </a:spcAft>
        <a:buClr>
          <a:schemeClr val="tx2"/>
        </a:buClr>
        <a:buFont typeface="Lucida Grande"/>
        <a:buChar char="-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0" y="0"/>
            <a:ext cx="9144000" cy="782638"/>
          </a:xfrm>
          <a:prstGeom prst="rect">
            <a:avLst/>
          </a:prstGeom>
          <a:solidFill>
            <a:srgbClr val="1E1160"/>
          </a:solidFill>
          <a:ln>
            <a:solidFill>
              <a:srgbClr val="1E116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4950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152400"/>
            <a:ext cx="6096000" cy="60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4950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914400"/>
            <a:ext cx="8229600" cy="5181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49510" name="Picture 6" descr="NationalGrid logo.gif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29400" y="228600"/>
            <a:ext cx="2251075" cy="469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439836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2" r:id="rId1"/>
    <p:sldLayoutId id="2147483733" r:id="rId2"/>
    <p:sldLayoutId id="2147483734" r:id="rId3"/>
    <p:sldLayoutId id="2147483735" r:id="rId4"/>
    <p:sldLayoutId id="2147483736" r:id="rId5"/>
    <p:sldLayoutId id="2147483737" r:id="rId6"/>
    <p:sldLayoutId id="2147483738" r:id="rId7"/>
    <p:sldLayoutId id="2147483739" r:id="rId8"/>
    <p:sldLayoutId id="2147483740" r:id="rId9"/>
    <p:sldLayoutId id="2147483741" r:id="rId10"/>
    <p:sldLayoutId id="2147483742" r:id="rId11"/>
    <p:sldLayoutId id="2147483743" r:id="rId12"/>
    <p:sldLayoutId id="2147483744" r:id="rId13"/>
    <p:sldLayoutId id="2147483745" r:id="rId14"/>
    <p:sldLayoutId id="2147483746" r:id="rId15"/>
  </p:sldLayoutIdLst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pitchFamily="34" charset="0"/>
          <a:ea typeface="ＭＳ Ｐゴシック" pitchFamily="34" charset="-128"/>
        </a:defRPr>
      </a:lvl2pPr>
      <a:lvl3pPr algn="l" rtl="0" fontAlgn="base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pitchFamily="34" charset="0"/>
          <a:ea typeface="ＭＳ Ｐゴシック" pitchFamily="34" charset="-128"/>
        </a:defRPr>
      </a:lvl3pPr>
      <a:lvl4pPr algn="l" rtl="0" fontAlgn="base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pitchFamily="34" charset="0"/>
          <a:ea typeface="ＭＳ Ｐゴシック" pitchFamily="34" charset="-128"/>
        </a:defRPr>
      </a:lvl4pPr>
      <a:lvl5pPr algn="l" rtl="0" fontAlgn="base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pitchFamily="34" charset="0"/>
          <a:ea typeface="ＭＳ Ｐゴシック" pitchFamily="34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pitchFamily="34" charset="0"/>
          <a:ea typeface="ＭＳ Ｐゴシック" pitchFamily="34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pitchFamily="34" charset="0"/>
          <a:ea typeface="ＭＳ Ｐゴシック" pitchFamily="34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pitchFamily="34" charset="0"/>
          <a:ea typeface="ＭＳ Ｐゴシック" pitchFamily="34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pitchFamily="34" charset="0"/>
          <a:ea typeface="ＭＳ Ｐゴシック" pitchFamily="34" charset="-128"/>
        </a:defRPr>
      </a:lvl9pPr>
    </p:titleStyle>
    <p:bodyStyle>
      <a:lvl1pPr marL="342900" indent="-342900" algn="l" rtl="0" fontAlgn="base">
        <a:spcBef>
          <a:spcPct val="0"/>
        </a:spcBef>
        <a:spcAft>
          <a:spcPct val="50000"/>
        </a:spcAft>
        <a:buClr>
          <a:schemeClr val="tx2"/>
        </a:buClr>
        <a:buFont typeface="Wingdings" pitchFamily="2" charset="2"/>
        <a:buChar char="Ø"/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0"/>
        </a:spcBef>
        <a:spcAft>
          <a:spcPct val="50000"/>
        </a:spcAft>
        <a:buClr>
          <a:schemeClr val="tx2"/>
        </a:buClr>
        <a:buFont typeface="Wingdings 2" pitchFamily="18" charset="2"/>
        <a:buChar char="®"/>
        <a:defRPr sz="2200">
          <a:solidFill>
            <a:schemeClr val="tx1"/>
          </a:solidFill>
          <a:latin typeface="+mn-lt"/>
          <a:ea typeface="+mn-ea"/>
        </a:defRPr>
      </a:lvl2pPr>
      <a:lvl3pPr marL="1143000" indent="-228600" algn="l" rtl="0" fontAlgn="base">
        <a:spcBef>
          <a:spcPct val="0"/>
        </a:spcBef>
        <a:spcAft>
          <a:spcPct val="50000"/>
        </a:spcAft>
        <a:buClr>
          <a:schemeClr val="tx2"/>
        </a:buClr>
        <a:buSzPct val="125000"/>
        <a:buFont typeface="Wingdings" pitchFamily="2" charset="2"/>
        <a:buChar char="§"/>
        <a:defRPr sz="2000">
          <a:solidFill>
            <a:schemeClr val="tx1"/>
          </a:solidFill>
          <a:latin typeface="+mn-lt"/>
          <a:ea typeface="+mn-ea"/>
        </a:defRPr>
      </a:lvl3pPr>
      <a:lvl4pPr marL="1600200" indent="-228600" algn="l" rtl="0" fontAlgn="base">
        <a:spcBef>
          <a:spcPct val="0"/>
        </a:spcBef>
        <a:spcAft>
          <a:spcPct val="50000"/>
        </a:spcAft>
        <a:buClr>
          <a:schemeClr val="tx2"/>
        </a:buClr>
        <a:buFont typeface="Arial" pitchFamily="34" charset="0"/>
        <a:buChar char="•"/>
        <a:defRPr>
          <a:solidFill>
            <a:schemeClr val="tx1"/>
          </a:solidFill>
          <a:latin typeface="+mn-lt"/>
          <a:ea typeface="+mn-ea"/>
        </a:defRPr>
      </a:lvl4pPr>
      <a:lvl5pPr marL="2057400" indent="-228600" algn="l" rtl="0" fontAlgn="base">
        <a:spcBef>
          <a:spcPct val="0"/>
        </a:spcBef>
        <a:spcAft>
          <a:spcPct val="50000"/>
        </a:spcAft>
        <a:buClr>
          <a:schemeClr val="tx2"/>
        </a:buClr>
        <a:buFont typeface="Lucida Grande"/>
        <a:buChar char="-"/>
        <a:defRPr sz="16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0"/>
        </a:spcBef>
        <a:spcAft>
          <a:spcPct val="50000"/>
        </a:spcAft>
        <a:buClr>
          <a:schemeClr val="tx2"/>
        </a:buClr>
        <a:buFont typeface="Lucida Grande"/>
        <a:buChar char="-"/>
        <a:defRPr sz="16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0"/>
        </a:spcBef>
        <a:spcAft>
          <a:spcPct val="50000"/>
        </a:spcAft>
        <a:buClr>
          <a:schemeClr val="tx2"/>
        </a:buClr>
        <a:buFont typeface="Lucida Grande"/>
        <a:buChar char="-"/>
        <a:defRPr sz="16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0"/>
        </a:spcBef>
        <a:spcAft>
          <a:spcPct val="50000"/>
        </a:spcAft>
        <a:buClr>
          <a:schemeClr val="tx2"/>
        </a:buClr>
        <a:buFont typeface="Lucida Grande"/>
        <a:buChar char="-"/>
        <a:defRPr sz="16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0"/>
        </a:spcBef>
        <a:spcAft>
          <a:spcPct val="50000"/>
        </a:spcAft>
        <a:buClr>
          <a:schemeClr val="tx2"/>
        </a:buClr>
        <a:buFont typeface="Lucida Grande"/>
        <a:buChar char="-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1707261445"/>
              </p:ext>
            </p:extLst>
          </p:nvPr>
        </p:nvGraphicFramePr>
        <p:xfrm>
          <a:off x="1591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0"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91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88802" name="Rectangle 2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4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057ED6F9-C26B-4A98-96DE-9B519E5743CE}" type="datetime1">
              <a:rPr lang="en-GB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2/09/2018</a:t>
            </a:fld>
            <a:endParaRPr lang="en-GB" dirty="0"/>
          </a:p>
        </p:txBody>
      </p:sp>
      <p:sp>
        <p:nvSpPr>
          <p:cNvPr id="588803" name="Rectangle 3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GB" dirty="0"/>
          </a:p>
        </p:txBody>
      </p:sp>
      <p:sp>
        <p:nvSpPr>
          <p:cNvPr id="588804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781800" y="6381750"/>
            <a:ext cx="2133600" cy="361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b="1">
                <a:solidFill>
                  <a:srgbClr val="0079C1"/>
                </a:solidFill>
                <a:latin typeface="Arial" charset="0"/>
                <a:ea typeface="ＭＳ Ｐゴシック" pitchFamily="48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83843541-AF64-483A-9E4C-5936A147450A}" type="slidenum">
              <a:rPr lang="en-GB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dirty="0"/>
          </a:p>
        </p:txBody>
      </p:sp>
      <p:cxnSp>
        <p:nvCxnSpPr>
          <p:cNvPr id="4" name="Straight Connector 3"/>
          <p:cNvCxnSpPr/>
          <p:nvPr/>
        </p:nvCxnSpPr>
        <p:spPr>
          <a:xfrm>
            <a:off x="700088" y="1382719"/>
            <a:ext cx="7999412" cy="1587"/>
          </a:xfrm>
          <a:prstGeom prst="line">
            <a:avLst/>
          </a:prstGeom>
          <a:ln w="19050" cap="flat" cmpd="sng" algn="ctr">
            <a:solidFill>
              <a:srgbClr val="2478C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126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593728" y="911781"/>
            <a:ext cx="8093075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noProof="0" dirty="0"/>
              <a:t>Click to edit Master title style</a:t>
            </a:r>
          </a:p>
        </p:txBody>
      </p:sp>
      <p:sp>
        <p:nvSpPr>
          <p:cNvPr id="51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93725" y="1485900"/>
            <a:ext cx="8089900" cy="464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pic>
        <p:nvPicPr>
          <p:cNvPr id="5128" name="Picture 9" descr="National_Grid_logo_blue"/>
          <p:cNvPicPr>
            <a:picLocks noChangeAspect="1" noChangeArrowheads="1"/>
          </p:cNvPicPr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0375" y="342900"/>
            <a:ext cx="1830388" cy="376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446606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8" r:id="rId1"/>
    <p:sldLayoutId id="2147483749" r:id="rId2"/>
    <p:sldLayoutId id="2147483750" r:id="rId3"/>
    <p:sldLayoutId id="2147483751" r:id="rId4"/>
    <p:sldLayoutId id="2147483752" r:id="rId5"/>
    <p:sldLayoutId id="2147483753" r:id="rId6"/>
    <p:sldLayoutId id="2147483754" r:id="rId7"/>
    <p:sldLayoutId id="2147483755" r:id="rId8"/>
    <p:sldLayoutId id="2147483756" r:id="rId9"/>
    <p:sldLayoutId id="2147483757" r:id="rId10"/>
    <p:sldLayoutId id="2147483758" r:id="rId11"/>
    <p:sldLayoutId id="2147483759" r:id="rId12"/>
    <p:sldLayoutId id="2147483760" r:id="rId13"/>
    <p:sldLayoutId id="2147483761" r:id="rId14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800" b="1">
          <a:solidFill>
            <a:srgbClr val="0079C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9pPr>
    </p:titleStyle>
    <p:bodyStyle>
      <a:lvl1pPr marL="342900" indent="-342900" algn="l" rtl="0" eaLnBrk="1" fontAlgn="base" hangingPunct="1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4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1" fontAlgn="base" hangingPunct="1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2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1" fontAlgn="base" hangingPunct="1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1" fontAlgn="base" hangingPunct="1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800">
          <a:solidFill>
            <a:schemeClr val="tx1"/>
          </a:solidFill>
          <a:latin typeface="+mn-lt"/>
          <a:ea typeface="+mn-ea"/>
        </a:defRPr>
      </a:lvl5pPr>
      <a:lvl6pPr marL="2514600" indent="-228600" algn="l" rtl="0" eaLnBrk="1" fontAlgn="base" hangingPunct="1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chemeClr val="tx2"/>
          </a:solidFill>
          <a:latin typeface="+mn-lt"/>
          <a:ea typeface="+mn-ea"/>
        </a:defRPr>
      </a:lvl6pPr>
      <a:lvl7pPr marL="2971800" indent="-228600" algn="l" rtl="0" eaLnBrk="1" fontAlgn="base" hangingPunct="1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chemeClr val="tx2"/>
          </a:solidFill>
          <a:latin typeface="+mn-lt"/>
          <a:ea typeface="+mn-ea"/>
        </a:defRPr>
      </a:lvl7pPr>
      <a:lvl8pPr marL="3429000" indent="-228600" algn="l" rtl="0" eaLnBrk="1" fontAlgn="base" hangingPunct="1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chemeClr val="tx2"/>
          </a:solidFill>
          <a:latin typeface="+mn-lt"/>
          <a:ea typeface="+mn-ea"/>
        </a:defRPr>
      </a:lvl8pPr>
      <a:lvl9pPr marL="3886200" indent="-228600" algn="l" rtl="0" eaLnBrk="1" fontAlgn="base" hangingPunct="1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chemeClr val="tx2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16CA40B-1953-4B28-A2FA-E66CE1D1D0C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1" name="think-cell Slide" r:id="rId4" imgW="451" imgH="450" progId="TCLayout.ActiveDocument.1">
                  <p:embed/>
                </p:oleObj>
              </mc:Choice>
              <mc:Fallback>
                <p:oleObj name="think-cell Slide" r:id="rId4" imgW="451" imgH="45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16CA40B-1953-4B28-A2FA-E66CE1D1D0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685800" y="1274564"/>
            <a:ext cx="7772400" cy="45858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dirty="0"/>
              <a:t>I believe the critical, regional obstacle blocking IoT, Technology and Innovation from expediting the achievement of Boston's 2050 clean energy commitments is...</a:t>
            </a:r>
          </a:p>
          <a:p>
            <a:endParaRPr lang="en-US" dirty="0"/>
          </a:p>
          <a:p>
            <a:endParaRPr lang="en-US" dirty="0"/>
          </a:p>
          <a:p>
            <a:r>
              <a:rPr lang="en-US" sz="2800" dirty="0">
                <a:solidFill>
                  <a:srgbClr val="1E1160"/>
                </a:solidFill>
              </a:rPr>
              <a:t>Make it “sexy” and appealing for a large number of consumers without feeling that we’re wasting customers/rate payers money and without thinking we’re taking too much risk.</a:t>
            </a:r>
          </a:p>
          <a:p>
            <a:pPr marL="285750" indent="-285750">
              <a:buFontTx/>
              <a:buChar char="-"/>
            </a:pPr>
            <a:endParaRPr lang="en-US" dirty="0"/>
          </a:p>
          <a:p>
            <a:pPr marL="285750" indent="-285750">
              <a:buFontTx/>
              <a:buChar char="-"/>
            </a:pPr>
            <a:endParaRPr lang="en-US" dirty="0"/>
          </a:p>
          <a:p>
            <a:pPr marL="285750" indent="-285750">
              <a:buFontTx/>
              <a:buChar char="-"/>
            </a:pPr>
            <a:endParaRPr lang="en-US" dirty="0"/>
          </a:p>
          <a:p>
            <a:r>
              <a:rPr lang="en-US" dirty="0"/>
              <a:t>How do we achieve a broader integration of energy innovation with non-energy innovation?</a:t>
            </a:r>
          </a:p>
        </p:txBody>
      </p:sp>
    </p:spTree>
    <p:extLst>
      <p:ext uri="{BB962C8B-B14F-4D97-AF65-F5344CB8AC3E}">
        <p14:creationId xmlns:p14="http://schemas.microsoft.com/office/powerpoint/2010/main" val="314395787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4_blank">
  <a:themeElements>
    <a:clrScheme name="Flow">
      <a:dk1>
        <a:sysClr val="windowText" lastClr="000000"/>
      </a:dk1>
      <a:lt1>
        <a:sysClr val="window" lastClr="FFFFFF"/>
      </a:lt1>
      <a:dk2>
        <a:srgbClr val="04617B"/>
      </a:dk2>
      <a:lt2>
        <a:srgbClr val="DBF5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F49100"/>
      </a:hlink>
      <a:folHlink>
        <a:srgbClr val="85DFD0"/>
      </a:folHlink>
    </a:clrScheme>
    <a:fontScheme name="2012.01.19 Jim Comms Plan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>
    <a:extraClrScheme>
      <a:clrScheme name="2012.01.19 Jim Comms Plan 1">
        <a:dk1>
          <a:srgbClr val="000000"/>
        </a:dk1>
        <a:lt1>
          <a:srgbClr val="FFFFFF"/>
        </a:lt1>
        <a:dk2>
          <a:srgbClr val="0079C1"/>
        </a:dk2>
        <a:lt2>
          <a:srgbClr val="808080"/>
        </a:lt2>
        <a:accent1>
          <a:srgbClr val="9DCCFE"/>
        </a:accent1>
        <a:accent2>
          <a:srgbClr val="0079C1"/>
        </a:accent2>
        <a:accent3>
          <a:srgbClr val="FFFFFF"/>
        </a:accent3>
        <a:accent4>
          <a:srgbClr val="000000"/>
        </a:accent4>
        <a:accent5>
          <a:srgbClr val="CCE2FE"/>
        </a:accent5>
        <a:accent6>
          <a:srgbClr val="006DAF"/>
        </a:accent6>
        <a:hlink>
          <a:srgbClr val="F96812"/>
        </a:hlink>
        <a:folHlink>
          <a:srgbClr val="99CC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5_blank">
  <a:themeElements>
    <a:clrScheme name="Flow">
      <a:dk1>
        <a:sysClr val="windowText" lastClr="000000"/>
      </a:dk1>
      <a:lt1>
        <a:sysClr val="window" lastClr="FFFFFF"/>
      </a:lt1>
      <a:dk2>
        <a:srgbClr val="04617B"/>
      </a:dk2>
      <a:lt2>
        <a:srgbClr val="DBF5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F49100"/>
      </a:hlink>
      <a:folHlink>
        <a:srgbClr val="85DFD0"/>
      </a:folHlink>
    </a:clrScheme>
    <a:fontScheme name="2012.01.19 Jim Comms Plan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>
    <a:extraClrScheme>
      <a:clrScheme name="2012.01.19 Jim Comms Plan 1">
        <a:dk1>
          <a:srgbClr val="000000"/>
        </a:dk1>
        <a:lt1>
          <a:srgbClr val="FFFFFF"/>
        </a:lt1>
        <a:dk2>
          <a:srgbClr val="0079C1"/>
        </a:dk2>
        <a:lt2>
          <a:srgbClr val="808080"/>
        </a:lt2>
        <a:accent1>
          <a:srgbClr val="9DCCFE"/>
        </a:accent1>
        <a:accent2>
          <a:srgbClr val="0079C1"/>
        </a:accent2>
        <a:accent3>
          <a:srgbClr val="FFFFFF"/>
        </a:accent3>
        <a:accent4>
          <a:srgbClr val="000000"/>
        </a:accent4>
        <a:accent5>
          <a:srgbClr val="CCE2FE"/>
        </a:accent5>
        <a:accent6>
          <a:srgbClr val="006DAF"/>
        </a:accent6>
        <a:hlink>
          <a:srgbClr val="F96812"/>
        </a:hlink>
        <a:folHlink>
          <a:srgbClr val="99CC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NG Internal CONDENSED">
  <a:themeElements>
    <a:clrScheme name="1_blank 1">
      <a:dk1>
        <a:srgbClr val="000000"/>
      </a:dk1>
      <a:lt1>
        <a:srgbClr val="FFFFFF"/>
      </a:lt1>
      <a:dk2>
        <a:srgbClr val="0079C1"/>
      </a:dk2>
      <a:lt2>
        <a:srgbClr val="808080"/>
      </a:lt2>
      <a:accent1>
        <a:srgbClr val="9DCCFE"/>
      </a:accent1>
      <a:accent2>
        <a:srgbClr val="0079C1"/>
      </a:accent2>
      <a:accent3>
        <a:srgbClr val="FFFFFF"/>
      </a:accent3>
      <a:accent4>
        <a:srgbClr val="000000"/>
      </a:accent4>
      <a:accent5>
        <a:srgbClr val="CCE2FE"/>
      </a:accent5>
      <a:accent6>
        <a:srgbClr val="006DAF"/>
      </a:accent6>
      <a:hlink>
        <a:srgbClr val="F96812"/>
      </a:hlink>
      <a:folHlink>
        <a:srgbClr val="99CC12"/>
      </a:folHlink>
    </a:clrScheme>
    <a:fontScheme name="1_blank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t" anchorCtr="0" compatLnSpc="1">
        <a:prstTxWarp prst="textNoShape">
          <a:avLst/>
        </a:prstTxWarp>
      </a:bodyPr>
      <a:lstStyle>
        <a:defPPr marL="231775" marR="0" indent="-231775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rgbClr val="009DDC"/>
            </a:solidFill>
            <a:effectLst/>
            <a:latin typeface="Arial" pitchFamily="34" charset="0"/>
            <a:ea typeface="ＭＳ Ｐゴシック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t" anchorCtr="0" compatLnSpc="1">
        <a:prstTxWarp prst="textNoShape">
          <a:avLst/>
        </a:prstTxWarp>
      </a:bodyPr>
      <a:lstStyle>
        <a:defPPr marL="231775" marR="0" indent="-231775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rgbClr val="009DDC"/>
            </a:solidFill>
            <a:effectLst/>
            <a:latin typeface="Arial" pitchFamily="34" charset="0"/>
            <a:ea typeface="ＭＳ Ｐゴシック" pitchFamily="34" charset="-128"/>
          </a:defRPr>
        </a:defPPr>
      </a:lstStyle>
    </a:lnDef>
  </a:objectDefaults>
  <a:extraClrSchemeLst>
    <a:extraClrScheme>
      <a:clrScheme name="1_blank 1">
        <a:dk1>
          <a:srgbClr val="000000"/>
        </a:dk1>
        <a:lt1>
          <a:srgbClr val="FFFFFF"/>
        </a:lt1>
        <a:dk2>
          <a:srgbClr val="0079C1"/>
        </a:dk2>
        <a:lt2>
          <a:srgbClr val="808080"/>
        </a:lt2>
        <a:accent1>
          <a:srgbClr val="9DCCFE"/>
        </a:accent1>
        <a:accent2>
          <a:srgbClr val="0079C1"/>
        </a:accent2>
        <a:accent3>
          <a:srgbClr val="FFFFFF"/>
        </a:accent3>
        <a:accent4>
          <a:srgbClr val="000000"/>
        </a:accent4>
        <a:accent5>
          <a:srgbClr val="CCE2FE"/>
        </a:accent5>
        <a:accent6>
          <a:srgbClr val="006DAF"/>
        </a:accent6>
        <a:hlink>
          <a:srgbClr val="F96812"/>
        </a:hlink>
        <a:folHlink>
          <a:srgbClr val="99CC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1_NG Internal CONDENSED">
  <a:themeElements>
    <a:clrScheme name="1_blank 1">
      <a:dk1>
        <a:srgbClr val="000000"/>
      </a:dk1>
      <a:lt1>
        <a:srgbClr val="FFFFFF"/>
      </a:lt1>
      <a:dk2>
        <a:srgbClr val="0079C1"/>
      </a:dk2>
      <a:lt2>
        <a:srgbClr val="808080"/>
      </a:lt2>
      <a:accent1>
        <a:srgbClr val="9DCCFE"/>
      </a:accent1>
      <a:accent2>
        <a:srgbClr val="0079C1"/>
      </a:accent2>
      <a:accent3>
        <a:srgbClr val="FFFFFF"/>
      </a:accent3>
      <a:accent4>
        <a:srgbClr val="000000"/>
      </a:accent4>
      <a:accent5>
        <a:srgbClr val="CCE2FE"/>
      </a:accent5>
      <a:accent6>
        <a:srgbClr val="006DAF"/>
      </a:accent6>
      <a:hlink>
        <a:srgbClr val="F96812"/>
      </a:hlink>
      <a:folHlink>
        <a:srgbClr val="99CC12"/>
      </a:folHlink>
    </a:clrScheme>
    <a:fontScheme name="1_blank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t" anchorCtr="0" compatLnSpc="1">
        <a:prstTxWarp prst="textNoShape">
          <a:avLst/>
        </a:prstTxWarp>
      </a:bodyPr>
      <a:lstStyle>
        <a:defPPr marL="231775" marR="0" indent="-231775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rgbClr val="009DDC"/>
            </a:solidFill>
            <a:effectLst/>
            <a:latin typeface="Arial" pitchFamily="34" charset="0"/>
            <a:ea typeface="ＭＳ Ｐゴシック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t" anchorCtr="0" compatLnSpc="1">
        <a:prstTxWarp prst="textNoShape">
          <a:avLst/>
        </a:prstTxWarp>
      </a:bodyPr>
      <a:lstStyle>
        <a:defPPr marL="231775" marR="0" indent="-231775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rgbClr val="009DDC"/>
            </a:solidFill>
            <a:effectLst/>
            <a:latin typeface="Arial" pitchFamily="34" charset="0"/>
            <a:ea typeface="ＭＳ Ｐゴシック" pitchFamily="34" charset="-128"/>
          </a:defRPr>
        </a:defPPr>
      </a:lstStyle>
    </a:lnDef>
  </a:objectDefaults>
  <a:extraClrSchemeLst>
    <a:extraClrScheme>
      <a:clrScheme name="1_blank 1">
        <a:dk1>
          <a:srgbClr val="000000"/>
        </a:dk1>
        <a:lt1>
          <a:srgbClr val="FFFFFF"/>
        </a:lt1>
        <a:dk2>
          <a:srgbClr val="0079C1"/>
        </a:dk2>
        <a:lt2>
          <a:srgbClr val="808080"/>
        </a:lt2>
        <a:accent1>
          <a:srgbClr val="9DCCFE"/>
        </a:accent1>
        <a:accent2>
          <a:srgbClr val="0079C1"/>
        </a:accent2>
        <a:accent3>
          <a:srgbClr val="FFFFFF"/>
        </a:accent3>
        <a:accent4>
          <a:srgbClr val="000000"/>
        </a:accent4>
        <a:accent5>
          <a:srgbClr val="CCE2FE"/>
        </a:accent5>
        <a:accent6>
          <a:srgbClr val="006DAF"/>
        </a:accent6>
        <a:hlink>
          <a:srgbClr val="F96812"/>
        </a:hlink>
        <a:folHlink>
          <a:srgbClr val="99CC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national_grid">
  <a:themeElements>
    <a:clrScheme name="national_grid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AED9"/>
      </a:accent1>
      <a:accent2>
        <a:srgbClr val="52DA3F"/>
      </a:accent2>
      <a:accent3>
        <a:srgbClr val="FFFFFF"/>
      </a:accent3>
      <a:accent4>
        <a:srgbClr val="000000"/>
      </a:accent4>
      <a:accent5>
        <a:srgbClr val="AAD3E9"/>
      </a:accent5>
      <a:accent6>
        <a:srgbClr val="49C538"/>
      </a:accent6>
      <a:hlink>
        <a:srgbClr val="FF7800"/>
      </a:hlink>
      <a:folHlink>
        <a:srgbClr val="00B090"/>
      </a:folHlink>
    </a:clrScheme>
    <a:fontScheme name="national_grid">
      <a:majorFont>
        <a:latin typeface="Arial"/>
        <a:ea typeface="ＭＳ Ｐゴシック"/>
        <a:cs typeface="ＭＳ Ｐゴシック"/>
      </a:majorFont>
      <a:minorFont>
        <a:latin typeface="Arial"/>
        <a:ea typeface="ＭＳ Ｐゴシック"/>
        <a:cs typeface="ＭＳ Ｐゴシック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800" b="1" i="0" u="none" strike="noStrike" cap="none" normalizeH="0" baseline="0" smtClean="0">
            <a:ln>
              <a:noFill/>
            </a:ln>
            <a:solidFill>
              <a:srgbClr val="0079C1"/>
            </a:solidFill>
            <a:effectLst/>
            <a:latin typeface="Arial" charset="0"/>
            <a:ea typeface="ＭＳ Ｐゴシック"/>
            <a:cs typeface="ＭＳ Ｐゴシック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800" b="1" i="0" u="none" strike="noStrike" cap="none" normalizeH="0" baseline="0" smtClean="0">
            <a:ln>
              <a:noFill/>
            </a:ln>
            <a:solidFill>
              <a:srgbClr val="0079C1"/>
            </a:solidFill>
            <a:effectLst/>
            <a:latin typeface="Arial" charset="0"/>
            <a:ea typeface="ＭＳ Ｐゴシック"/>
            <a:cs typeface="ＭＳ Ｐゴシック"/>
          </a:defRPr>
        </a:defPPr>
      </a:lstStyle>
    </a:lnDef>
  </a:objectDefaults>
  <a:extraClrSchemeLst>
    <a:extraClrScheme>
      <a:clrScheme name="national_grid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ED9"/>
        </a:accent1>
        <a:accent2>
          <a:srgbClr val="52DA3F"/>
        </a:accent2>
        <a:accent3>
          <a:srgbClr val="FFFFFF"/>
        </a:accent3>
        <a:accent4>
          <a:srgbClr val="000000"/>
        </a:accent4>
        <a:accent5>
          <a:srgbClr val="AAD3E9"/>
        </a:accent5>
        <a:accent6>
          <a:srgbClr val="49C538"/>
        </a:accent6>
        <a:hlink>
          <a:srgbClr val="FF7800"/>
        </a:hlink>
        <a:folHlink>
          <a:srgbClr val="00B09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national_grid[2]">
  <a:themeElements>
    <a:clrScheme name="national_grid[2]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AED9"/>
      </a:accent1>
      <a:accent2>
        <a:srgbClr val="52DA3F"/>
      </a:accent2>
      <a:accent3>
        <a:srgbClr val="FFFFFF"/>
      </a:accent3>
      <a:accent4>
        <a:srgbClr val="000000"/>
      </a:accent4>
      <a:accent5>
        <a:srgbClr val="AAD3E9"/>
      </a:accent5>
      <a:accent6>
        <a:srgbClr val="49C538"/>
      </a:accent6>
      <a:hlink>
        <a:srgbClr val="FF7800"/>
      </a:hlink>
      <a:folHlink>
        <a:srgbClr val="00B090"/>
      </a:folHlink>
    </a:clrScheme>
    <a:fontScheme name="national_grid[2]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260F54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800" b="1" i="0" u="none" strike="noStrike" cap="none" normalizeH="0" baseline="0" smtClean="0">
            <a:ln>
              <a:noFill/>
            </a:ln>
            <a:solidFill>
              <a:srgbClr val="0079C1"/>
            </a:solidFill>
            <a:effectLst/>
            <a:latin typeface="Arial" pitchFamily="34" charset="0"/>
            <a:ea typeface="ＭＳ Ｐゴシック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260F54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800" b="1" i="0" u="none" strike="noStrike" cap="none" normalizeH="0" baseline="0" smtClean="0">
            <a:ln>
              <a:noFill/>
            </a:ln>
            <a:solidFill>
              <a:srgbClr val="0079C1"/>
            </a:solidFill>
            <a:effectLst/>
            <a:latin typeface="Arial" pitchFamily="34" charset="0"/>
            <a:ea typeface="ＭＳ Ｐゴシック" pitchFamily="34" charset="-128"/>
          </a:defRPr>
        </a:defPPr>
      </a:lstStyle>
    </a:lnDef>
  </a:objectDefaults>
  <a:extraClrSchemeLst>
    <a:extraClrScheme>
      <a:clrScheme name="national_grid[2]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ED9"/>
        </a:accent1>
        <a:accent2>
          <a:srgbClr val="52DA3F"/>
        </a:accent2>
        <a:accent3>
          <a:srgbClr val="FFFFFF"/>
        </a:accent3>
        <a:accent4>
          <a:srgbClr val="000000"/>
        </a:accent4>
        <a:accent5>
          <a:srgbClr val="AAD3E9"/>
        </a:accent5>
        <a:accent6>
          <a:srgbClr val="49C538"/>
        </a:accent6>
        <a:hlink>
          <a:srgbClr val="FF7800"/>
        </a:hlink>
        <a:folHlink>
          <a:srgbClr val="00B09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2_NG Internal CONDENSED">
  <a:themeElements>
    <a:clrScheme name="1_blank 1">
      <a:dk1>
        <a:srgbClr val="000000"/>
      </a:dk1>
      <a:lt1>
        <a:srgbClr val="FFFFFF"/>
      </a:lt1>
      <a:dk2>
        <a:srgbClr val="0079C1"/>
      </a:dk2>
      <a:lt2>
        <a:srgbClr val="808080"/>
      </a:lt2>
      <a:accent1>
        <a:srgbClr val="9DCCFE"/>
      </a:accent1>
      <a:accent2>
        <a:srgbClr val="0079C1"/>
      </a:accent2>
      <a:accent3>
        <a:srgbClr val="FFFFFF"/>
      </a:accent3>
      <a:accent4>
        <a:srgbClr val="000000"/>
      </a:accent4>
      <a:accent5>
        <a:srgbClr val="CCE2FE"/>
      </a:accent5>
      <a:accent6>
        <a:srgbClr val="006DAF"/>
      </a:accent6>
      <a:hlink>
        <a:srgbClr val="F96812"/>
      </a:hlink>
      <a:folHlink>
        <a:srgbClr val="99CC12"/>
      </a:folHlink>
    </a:clrScheme>
    <a:fontScheme name="1_blank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t" anchorCtr="0" compatLnSpc="1">
        <a:prstTxWarp prst="textNoShape">
          <a:avLst/>
        </a:prstTxWarp>
      </a:bodyPr>
      <a:lstStyle>
        <a:defPPr marL="231775" marR="0" indent="-231775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rgbClr val="009DDC"/>
            </a:solidFill>
            <a:effectLst/>
            <a:latin typeface="Arial" pitchFamily="34" charset="0"/>
            <a:ea typeface="ＭＳ Ｐゴシック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t" anchorCtr="0" compatLnSpc="1">
        <a:prstTxWarp prst="textNoShape">
          <a:avLst/>
        </a:prstTxWarp>
      </a:bodyPr>
      <a:lstStyle>
        <a:defPPr marL="231775" marR="0" indent="-231775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rgbClr val="009DDC"/>
            </a:solidFill>
            <a:effectLst/>
            <a:latin typeface="Arial" pitchFamily="34" charset="0"/>
            <a:ea typeface="ＭＳ Ｐゴシック" pitchFamily="34" charset="-128"/>
          </a:defRPr>
        </a:defPPr>
      </a:lstStyle>
    </a:lnDef>
  </a:objectDefaults>
  <a:extraClrSchemeLst>
    <a:extraClrScheme>
      <a:clrScheme name="1_blank 1">
        <a:dk1>
          <a:srgbClr val="000000"/>
        </a:dk1>
        <a:lt1>
          <a:srgbClr val="FFFFFF"/>
        </a:lt1>
        <a:dk2>
          <a:srgbClr val="0079C1"/>
        </a:dk2>
        <a:lt2>
          <a:srgbClr val="808080"/>
        </a:lt2>
        <a:accent1>
          <a:srgbClr val="9DCCFE"/>
        </a:accent1>
        <a:accent2>
          <a:srgbClr val="0079C1"/>
        </a:accent2>
        <a:accent3>
          <a:srgbClr val="FFFFFF"/>
        </a:accent3>
        <a:accent4>
          <a:srgbClr val="000000"/>
        </a:accent4>
        <a:accent5>
          <a:srgbClr val="CCE2FE"/>
        </a:accent5>
        <a:accent6>
          <a:srgbClr val="006DAF"/>
        </a:accent6>
        <a:hlink>
          <a:srgbClr val="F96812"/>
        </a:hlink>
        <a:folHlink>
          <a:srgbClr val="99CC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3_NG Internal CONDENSED">
  <a:themeElements>
    <a:clrScheme name="1_blank 1">
      <a:dk1>
        <a:srgbClr val="000000"/>
      </a:dk1>
      <a:lt1>
        <a:srgbClr val="FFFFFF"/>
      </a:lt1>
      <a:dk2>
        <a:srgbClr val="0079C1"/>
      </a:dk2>
      <a:lt2>
        <a:srgbClr val="808080"/>
      </a:lt2>
      <a:accent1>
        <a:srgbClr val="9DCCFE"/>
      </a:accent1>
      <a:accent2>
        <a:srgbClr val="0079C1"/>
      </a:accent2>
      <a:accent3>
        <a:srgbClr val="FFFFFF"/>
      </a:accent3>
      <a:accent4>
        <a:srgbClr val="000000"/>
      </a:accent4>
      <a:accent5>
        <a:srgbClr val="CCE2FE"/>
      </a:accent5>
      <a:accent6>
        <a:srgbClr val="006DAF"/>
      </a:accent6>
      <a:hlink>
        <a:srgbClr val="F96812"/>
      </a:hlink>
      <a:folHlink>
        <a:srgbClr val="99CC12"/>
      </a:folHlink>
    </a:clrScheme>
    <a:fontScheme name="1_blank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t" anchorCtr="0" compatLnSpc="1">
        <a:prstTxWarp prst="textNoShape">
          <a:avLst/>
        </a:prstTxWarp>
      </a:bodyPr>
      <a:lstStyle>
        <a:defPPr marL="231775" marR="0" indent="-231775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rgbClr val="009DDC"/>
            </a:solidFill>
            <a:effectLst/>
            <a:latin typeface="Arial" pitchFamily="34" charset="0"/>
            <a:ea typeface="ＭＳ Ｐゴシック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t" anchorCtr="0" compatLnSpc="1">
        <a:prstTxWarp prst="textNoShape">
          <a:avLst/>
        </a:prstTxWarp>
      </a:bodyPr>
      <a:lstStyle>
        <a:defPPr marL="231775" marR="0" indent="-231775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rgbClr val="009DDC"/>
            </a:solidFill>
            <a:effectLst/>
            <a:latin typeface="Arial" pitchFamily="34" charset="0"/>
            <a:ea typeface="ＭＳ Ｐゴシック" pitchFamily="34" charset="-128"/>
          </a:defRPr>
        </a:defPPr>
      </a:lstStyle>
    </a:lnDef>
  </a:objectDefaults>
  <a:extraClrSchemeLst>
    <a:extraClrScheme>
      <a:clrScheme name="1_blank 1">
        <a:dk1>
          <a:srgbClr val="000000"/>
        </a:dk1>
        <a:lt1>
          <a:srgbClr val="FFFFFF"/>
        </a:lt1>
        <a:dk2>
          <a:srgbClr val="0079C1"/>
        </a:dk2>
        <a:lt2>
          <a:srgbClr val="808080"/>
        </a:lt2>
        <a:accent1>
          <a:srgbClr val="9DCCFE"/>
        </a:accent1>
        <a:accent2>
          <a:srgbClr val="0079C1"/>
        </a:accent2>
        <a:accent3>
          <a:srgbClr val="FFFFFF"/>
        </a:accent3>
        <a:accent4>
          <a:srgbClr val="000000"/>
        </a:accent4>
        <a:accent5>
          <a:srgbClr val="CCE2FE"/>
        </a:accent5>
        <a:accent6>
          <a:srgbClr val="006DAF"/>
        </a:accent6>
        <a:hlink>
          <a:srgbClr val="F96812"/>
        </a:hlink>
        <a:folHlink>
          <a:srgbClr val="99CC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GroupStrategy">
  <a:themeElements>
    <a:clrScheme name="Thinkcell conservative July 2015">
      <a:dk1>
        <a:srgbClr val="000000"/>
      </a:dk1>
      <a:lt1>
        <a:srgbClr val="FFFFFF"/>
      </a:lt1>
      <a:dk2>
        <a:srgbClr val="1F497D"/>
      </a:dk2>
      <a:lt2>
        <a:srgbClr val="10253F"/>
      </a:lt2>
      <a:accent1>
        <a:srgbClr val="C6D9F1"/>
      </a:accent1>
      <a:accent2>
        <a:srgbClr val="8EB4E3"/>
      </a:accent2>
      <a:accent3>
        <a:srgbClr val="BFBFBF"/>
      </a:accent3>
      <a:accent4>
        <a:srgbClr val="7F7F7F"/>
      </a:accent4>
      <a:accent5>
        <a:srgbClr val="E36C09"/>
      </a:accent5>
      <a:accent6>
        <a:srgbClr val="F79646"/>
      </a:accent6>
      <a:hlink>
        <a:srgbClr val="558ED5"/>
      </a:hlink>
      <a:folHlink>
        <a:srgbClr val="17375E"/>
      </a:folHlink>
    </a:clrScheme>
    <a:fontScheme name="Custom 1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>
            <a:lumMod val="85000"/>
          </a:schemeClr>
        </a:solidFill>
        <a:ln>
          <a:noFill/>
        </a:ln>
        <a:extLst/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algn="l">
          <a:defRPr sz="1000" dirty="0" err="1" smtClean="0">
            <a:solidFill>
              <a:schemeClr val="tx1"/>
            </a:solidFill>
          </a:defRPr>
        </a:defPPr>
      </a:lstStyle>
    </a:spDef>
    <a:lnDef>
      <a:spPr>
        <a:ln w="12700"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>
        <a:spAutoFit/>
      </a:bodyPr>
      <a:lstStyle>
        <a:defPPr marL="171450" indent="-171450" algn="l">
          <a:spcBef>
            <a:spcPts val="600"/>
          </a:spcBef>
          <a:buFont typeface="Wingdings" pitchFamily="2" charset="2"/>
          <a:buChar char="§"/>
          <a:defRPr sz="1000" dirty="0" smtClean="0">
            <a:solidFill>
              <a:schemeClr val="tx1"/>
            </a:solidFill>
          </a:defRPr>
        </a:defPPr>
      </a:lstStyle>
    </a:txDef>
  </a:objectDefaults>
  <a:extraClrSchemeLst>
    <a:extraClrScheme>
      <a:clrScheme name="1_NG Phot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ED9"/>
        </a:accent1>
        <a:accent2>
          <a:srgbClr val="52DA3F"/>
        </a:accent2>
        <a:accent3>
          <a:srgbClr val="FFFFFF"/>
        </a:accent3>
        <a:accent4>
          <a:srgbClr val="000000"/>
        </a:accent4>
        <a:accent5>
          <a:srgbClr val="AAD3E9"/>
        </a:accent5>
        <a:accent6>
          <a:srgbClr val="49C538"/>
        </a:accent6>
        <a:hlink>
          <a:srgbClr val="FF7800"/>
        </a:hlink>
        <a:folHlink>
          <a:srgbClr val="00B09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274</TotalTime>
  <Words>71</Words>
  <Application>Microsoft Office PowerPoint</Application>
  <PresentationFormat>On-screen Show (4:3)</PresentationFormat>
  <Paragraphs>8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9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8" baseType="lpstr">
      <vt:lpstr>MS PGothic</vt:lpstr>
      <vt:lpstr>MS PGothic</vt:lpstr>
      <vt:lpstr>Arial</vt:lpstr>
      <vt:lpstr>Calibri</vt:lpstr>
      <vt:lpstr>Lucida Grande</vt:lpstr>
      <vt:lpstr>Wingdings</vt:lpstr>
      <vt:lpstr>Wingdings 2</vt:lpstr>
      <vt:lpstr>4_blank</vt:lpstr>
      <vt:lpstr>5_blank</vt:lpstr>
      <vt:lpstr>NG Internal CONDENSED</vt:lpstr>
      <vt:lpstr>1_NG Internal CONDENSED</vt:lpstr>
      <vt:lpstr>national_grid</vt:lpstr>
      <vt:lpstr>national_grid[2]</vt:lpstr>
      <vt:lpstr>2_NG Internal CONDENSED</vt:lpstr>
      <vt:lpstr>3_NG Internal CONDENSED</vt:lpstr>
      <vt:lpstr>GroupStrategy</vt:lpstr>
      <vt:lpstr>think-cell Slide</vt:lpstr>
      <vt:lpstr>PowerPoint Presentation</vt:lpstr>
    </vt:vector>
  </TitlesOfParts>
  <Company>National Grid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ational Grid</dc:creator>
  <cp:lastModifiedBy>Grant van Wyngaarden</cp:lastModifiedBy>
  <cp:revision>35</cp:revision>
  <cp:lastPrinted>2018-09-10T11:42:59Z</cp:lastPrinted>
  <dcterms:created xsi:type="dcterms:W3CDTF">2018-05-07T15:25:25Z</dcterms:created>
  <dcterms:modified xsi:type="dcterms:W3CDTF">2018-09-13T03:17:44Z</dcterms:modified>
</cp:coreProperties>
</file>